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679" r:id="rId3"/>
    <p:sldMasterId id="2147483684" r:id="rId4"/>
    <p:sldMasterId id="2147483710" r:id="rId5"/>
  </p:sldMasterIdLst>
  <p:notesMasterIdLst>
    <p:notesMasterId r:id="rId23"/>
  </p:notesMasterIdLst>
  <p:sldIdLst>
    <p:sldId id="256" r:id="rId6"/>
    <p:sldId id="840" r:id="rId7"/>
    <p:sldId id="843" r:id="rId8"/>
    <p:sldId id="842" r:id="rId9"/>
    <p:sldId id="844" r:id="rId10"/>
    <p:sldId id="847" r:id="rId11"/>
    <p:sldId id="849" r:id="rId12"/>
    <p:sldId id="848" r:id="rId13"/>
    <p:sldId id="850" r:id="rId14"/>
    <p:sldId id="851" r:id="rId15"/>
    <p:sldId id="855" r:id="rId16"/>
    <p:sldId id="852" r:id="rId17"/>
    <p:sldId id="853" r:id="rId18"/>
    <p:sldId id="856" r:id="rId19"/>
    <p:sldId id="854" r:id="rId20"/>
    <p:sldId id="845" r:id="rId21"/>
    <p:sldId id="837" r:id="rId22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6"/>
    <a:srgbClr val="009866"/>
    <a:srgbClr val="CC0000"/>
    <a:srgbClr val="94A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78" autoAdjust="0"/>
    <p:restoredTop sz="90599" autoAdjust="0"/>
  </p:normalViewPr>
  <p:slideViewPr>
    <p:cSldViewPr snapToGrid="0">
      <p:cViewPr>
        <p:scale>
          <a:sx n="63" d="100"/>
          <a:sy n="63" d="100"/>
        </p:scale>
        <p:origin x="1579" y="336"/>
      </p:cViewPr>
      <p:guideLst>
        <p:guide orient="horz" pos="100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D32FA3-F1F6-44E0-8942-CB5ABD41575B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29B46A8-47EB-4A4B-9747-E3BD4BA6B60E}">
      <dgm:prSet/>
      <dgm:spPr/>
      <dgm:t>
        <a:bodyPr/>
        <a:lstStyle/>
        <a:p>
          <a:r>
            <a:rPr lang="de-DE" dirty="0"/>
            <a:t>Penalty</a:t>
          </a:r>
          <a:endParaRPr lang="en-US" dirty="0"/>
        </a:p>
      </dgm:t>
    </dgm:pt>
    <dgm:pt modelId="{FD57813D-16D3-4D99-ADFE-6E6364F8527A}" type="parTrans" cxnId="{EE49C653-F2DD-4F62-9AC4-92F50DEE759D}">
      <dgm:prSet/>
      <dgm:spPr/>
      <dgm:t>
        <a:bodyPr/>
        <a:lstStyle/>
        <a:p>
          <a:endParaRPr lang="en-US"/>
        </a:p>
      </dgm:t>
    </dgm:pt>
    <dgm:pt modelId="{7B7F7F9A-540D-4DC8-B1CE-C1A5AC148A0C}" type="sibTrans" cxnId="{EE49C653-F2DD-4F62-9AC4-92F50DEE759D}">
      <dgm:prSet/>
      <dgm:spPr/>
      <dgm:t>
        <a:bodyPr/>
        <a:lstStyle/>
        <a:p>
          <a:endParaRPr lang="en-US"/>
        </a:p>
      </dgm:t>
    </dgm:pt>
    <dgm:pt modelId="{AFD458D4-F957-4470-A468-4DAED27EAA25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 Ashwatthama </a:t>
          </a:r>
          <a:r>
            <a:rPr lang="de-DE" dirty="0">
              <a:solidFill>
                <a:srgbClr val="FF0000"/>
              </a:solidFill>
            </a:rPr>
            <a:t>– 20 </a:t>
          </a:r>
          <a:r>
            <a:rPr lang="de-DE" dirty="0"/>
            <a:t>reward</a:t>
          </a:r>
          <a:endParaRPr lang="en-US" dirty="0"/>
        </a:p>
      </dgm:t>
    </dgm:pt>
    <dgm:pt modelId="{68A30FE6-33BF-4E62-97DF-1C0CB3A16A2F}" type="parTrans" cxnId="{252EA59F-85A5-4829-A36A-1A9248C5B1C6}">
      <dgm:prSet/>
      <dgm:spPr/>
      <dgm:t>
        <a:bodyPr/>
        <a:lstStyle/>
        <a:p>
          <a:endParaRPr lang="en-US"/>
        </a:p>
      </dgm:t>
    </dgm:pt>
    <dgm:pt modelId="{6D1D45DA-20DF-4D4E-893D-64133979CD3D}" type="sibTrans" cxnId="{252EA59F-85A5-4829-A36A-1A9248C5B1C6}">
      <dgm:prSet/>
      <dgm:spPr/>
      <dgm:t>
        <a:bodyPr/>
        <a:lstStyle/>
        <a:p>
          <a:endParaRPr lang="en-US"/>
        </a:p>
      </dgm:t>
    </dgm:pt>
    <dgm:pt modelId="{EF3010EA-092F-4889-B12C-9A5970044153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 Kritavarma </a:t>
          </a:r>
          <a:r>
            <a:rPr lang="de-DE" dirty="0">
              <a:solidFill>
                <a:srgbClr val="FF0000"/>
              </a:solidFill>
            </a:rPr>
            <a:t>– 10 </a:t>
          </a:r>
          <a:r>
            <a:rPr lang="de-DE" dirty="0"/>
            <a:t>reward</a:t>
          </a:r>
          <a:endParaRPr lang="en-US" dirty="0"/>
        </a:p>
      </dgm:t>
    </dgm:pt>
    <dgm:pt modelId="{36FAA84A-B0FA-4C90-AC9C-820ECCDC7C53}" type="parTrans" cxnId="{D376E074-EC6F-4A99-83B4-3A479FEE230B}">
      <dgm:prSet/>
      <dgm:spPr/>
      <dgm:t>
        <a:bodyPr/>
        <a:lstStyle/>
        <a:p>
          <a:endParaRPr lang="en-US"/>
        </a:p>
      </dgm:t>
    </dgm:pt>
    <dgm:pt modelId="{8C23A64D-96D2-46E7-8C1B-89369D68EA86}" type="sibTrans" cxnId="{D376E074-EC6F-4A99-83B4-3A479FEE230B}">
      <dgm:prSet/>
      <dgm:spPr/>
      <dgm:t>
        <a:bodyPr/>
        <a:lstStyle/>
        <a:p>
          <a:endParaRPr lang="en-US"/>
        </a:p>
      </dgm:t>
    </dgm:pt>
    <dgm:pt modelId="{7577DE35-5346-40D1-B230-9358EA1C772C}">
      <dgm:prSet/>
      <dgm:spPr/>
      <dgm:t>
        <a:bodyPr/>
        <a:lstStyle/>
        <a:p>
          <a:r>
            <a:rPr lang="de-DE" dirty="0"/>
            <a:t>Teleport</a:t>
          </a:r>
          <a:endParaRPr lang="en-US" dirty="0"/>
        </a:p>
      </dgm:t>
    </dgm:pt>
    <dgm:pt modelId="{EB4A565A-7BA6-45F7-8A89-0DA9A0C39540}" type="parTrans" cxnId="{04163A17-F1B2-448F-837D-2F56FA9B5FEE}">
      <dgm:prSet/>
      <dgm:spPr/>
      <dgm:t>
        <a:bodyPr/>
        <a:lstStyle/>
        <a:p>
          <a:endParaRPr lang="en-US"/>
        </a:p>
      </dgm:t>
    </dgm:pt>
    <dgm:pt modelId="{4D32CD19-3531-434D-A2D0-D29055E7FD2E}" type="sibTrans" cxnId="{04163A17-F1B2-448F-837D-2F56FA9B5FEE}">
      <dgm:prSet/>
      <dgm:spPr/>
      <dgm:t>
        <a:bodyPr/>
        <a:lstStyle/>
        <a:p>
          <a:endParaRPr lang="en-US"/>
        </a:p>
      </dgm:t>
    </dgm:pt>
    <dgm:pt modelId="{5AD88A9A-8551-470F-8287-DA7D907CBFD3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Shakuni - Teleport (Random)</a:t>
          </a:r>
          <a:endParaRPr lang="en-US" dirty="0"/>
        </a:p>
      </dgm:t>
    </dgm:pt>
    <dgm:pt modelId="{A1F69182-C9E8-41BD-ACA3-830D71AEB99B}" type="parTrans" cxnId="{24E6D163-F238-45DD-BA3D-B10357B047EA}">
      <dgm:prSet/>
      <dgm:spPr/>
      <dgm:t>
        <a:bodyPr/>
        <a:lstStyle/>
        <a:p>
          <a:endParaRPr lang="en-US"/>
        </a:p>
      </dgm:t>
    </dgm:pt>
    <dgm:pt modelId="{F172ED8B-9A52-4F7F-9BA7-B8321CF668F0}" type="sibTrans" cxnId="{24E6D163-F238-45DD-BA3D-B10357B047EA}">
      <dgm:prSet/>
      <dgm:spPr/>
      <dgm:t>
        <a:bodyPr/>
        <a:lstStyle/>
        <a:p>
          <a:endParaRPr lang="en-US"/>
        </a:p>
      </dgm:t>
    </dgm:pt>
    <dgm:pt modelId="{4A50E35F-BF7E-4905-B54B-205F7DFA0417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Drona - Teleport (0,0)</a:t>
          </a:r>
          <a:endParaRPr lang="en-US" dirty="0"/>
        </a:p>
      </dgm:t>
    </dgm:pt>
    <dgm:pt modelId="{8A2632D8-DC75-40F9-8983-9BB63B29548F}" type="parTrans" cxnId="{AED6DF7B-4658-4566-9A6A-1E27BFCAC4E8}">
      <dgm:prSet/>
      <dgm:spPr/>
      <dgm:t>
        <a:bodyPr/>
        <a:lstStyle/>
        <a:p>
          <a:endParaRPr lang="en-US"/>
        </a:p>
      </dgm:t>
    </dgm:pt>
    <dgm:pt modelId="{4C789933-D29F-48F8-84D6-419608D5A166}" type="sibTrans" cxnId="{AED6DF7B-4658-4566-9A6A-1E27BFCAC4E8}">
      <dgm:prSet/>
      <dgm:spPr/>
      <dgm:t>
        <a:bodyPr/>
        <a:lstStyle/>
        <a:p>
          <a:endParaRPr lang="en-US"/>
        </a:p>
      </dgm:t>
    </dgm:pt>
    <dgm:pt modelId="{4831AE6F-8D7D-41B2-B3FB-B071C777278F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Dushasan - Teleport (6,6)</a:t>
          </a:r>
          <a:endParaRPr lang="en-US" dirty="0"/>
        </a:p>
      </dgm:t>
    </dgm:pt>
    <dgm:pt modelId="{6CA8669B-990A-498F-938A-FA6427F093B1}" type="parTrans" cxnId="{3A36706B-1495-4E93-A581-D27527BDBABD}">
      <dgm:prSet/>
      <dgm:spPr/>
      <dgm:t>
        <a:bodyPr/>
        <a:lstStyle/>
        <a:p>
          <a:endParaRPr lang="en-US"/>
        </a:p>
      </dgm:t>
    </dgm:pt>
    <dgm:pt modelId="{421A2A47-6B40-4CD3-B5D1-D701E2FCEAA3}" type="sibTrans" cxnId="{3A36706B-1495-4E93-A581-D27527BDBABD}">
      <dgm:prSet/>
      <dgm:spPr/>
      <dgm:t>
        <a:bodyPr/>
        <a:lstStyle/>
        <a:p>
          <a:endParaRPr lang="en-US"/>
        </a:p>
      </dgm:t>
    </dgm:pt>
    <dgm:pt modelId="{6D46B9F1-1ED7-4FD2-9685-76B3A20AB4DA}">
      <dgm:prSet/>
      <dgm:spPr/>
      <dgm:t>
        <a:bodyPr/>
        <a:lstStyle/>
        <a:p>
          <a:r>
            <a:rPr lang="de-DE" dirty="0"/>
            <a:t>Freeze action</a:t>
          </a:r>
          <a:endParaRPr lang="en-US" dirty="0"/>
        </a:p>
      </dgm:t>
    </dgm:pt>
    <dgm:pt modelId="{CBCE52F7-A6E3-44EF-AFA5-B52803F76922}" type="parTrans" cxnId="{C70EC514-EC21-4BF9-8B19-DD6581BA2459}">
      <dgm:prSet/>
      <dgm:spPr/>
      <dgm:t>
        <a:bodyPr/>
        <a:lstStyle/>
        <a:p>
          <a:endParaRPr lang="en-US"/>
        </a:p>
      </dgm:t>
    </dgm:pt>
    <dgm:pt modelId="{7762DDC2-33EE-44BC-88A8-BE9DACB1877F}" type="sibTrans" cxnId="{C70EC514-EC21-4BF9-8B19-DD6581BA2459}">
      <dgm:prSet/>
      <dgm:spPr/>
      <dgm:t>
        <a:bodyPr/>
        <a:lstStyle/>
        <a:p>
          <a:endParaRPr lang="en-US"/>
        </a:p>
      </dgm:t>
    </dgm:pt>
    <dgm:pt modelId="{18BD0E9D-E48F-4E33-854E-30E8C9C41CDC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Bhishma - Next 4 steps</a:t>
          </a:r>
          <a:endParaRPr lang="en-US" dirty="0"/>
        </a:p>
      </dgm:t>
    </dgm:pt>
    <dgm:pt modelId="{0BA4FCBA-A880-481E-9245-F931702C1BC9}" type="parTrans" cxnId="{4EA8D5D5-F430-44DE-A68D-B4F43FC59959}">
      <dgm:prSet/>
      <dgm:spPr/>
      <dgm:t>
        <a:bodyPr/>
        <a:lstStyle/>
        <a:p>
          <a:endParaRPr lang="en-US"/>
        </a:p>
      </dgm:t>
    </dgm:pt>
    <dgm:pt modelId="{894F679F-4CAE-4F89-A0CE-34F698A88918}" type="sibTrans" cxnId="{4EA8D5D5-F430-44DE-A68D-B4F43FC59959}">
      <dgm:prSet/>
      <dgm:spPr/>
      <dgm:t>
        <a:bodyPr/>
        <a:lstStyle/>
        <a:p>
          <a:endParaRPr lang="en-US"/>
        </a:p>
      </dgm:t>
    </dgm:pt>
    <dgm:pt modelId="{0F83F6E9-3366-49C4-A153-E2D5292D7991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Kripa - Next 2 steps</a:t>
          </a:r>
          <a:endParaRPr lang="en-US" dirty="0"/>
        </a:p>
      </dgm:t>
    </dgm:pt>
    <dgm:pt modelId="{D4327017-C422-4028-9A07-EEC89268A448}" type="parTrans" cxnId="{9DDDFB1C-DB59-4438-B5D3-D04014127EDA}">
      <dgm:prSet/>
      <dgm:spPr/>
      <dgm:t>
        <a:bodyPr/>
        <a:lstStyle/>
        <a:p>
          <a:endParaRPr lang="en-US"/>
        </a:p>
      </dgm:t>
    </dgm:pt>
    <dgm:pt modelId="{436F2CF0-F317-46DC-AA1A-93AD5454C2E9}" type="sibTrans" cxnId="{9DDDFB1C-DB59-4438-B5D3-D04014127EDA}">
      <dgm:prSet/>
      <dgm:spPr/>
      <dgm:t>
        <a:bodyPr/>
        <a:lstStyle/>
        <a:p>
          <a:endParaRPr lang="en-US"/>
        </a:p>
      </dgm:t>
    </dgm:pt>
    <dgm:pt modelId="{4444435B-62A6-4218-A4B5-09815847698E}">
      <dgm:prSet/>
      <dgm:spPr/>
      <dgm:t>
        <a:bodyPr/>
        <a:lstStyle/>
        <a:p>
          <a:r>
            <a:rPr lang="de-DE" dirty="0"/>
            <a:t>Restrict Left  action</a:t>
          </a:r>
          <a:endParaRPr lang="en-US" dirty="0"/>
        </a:p>
      </dgm:t>
    </dgm:pt>
    <dgm:pt modelId="{F64FCBF3-037D-43BC-B34D-34C3D60AC5AD}" type="parTrans" cxnId="{728BBDD5-A4FA-4A27-B138-797FCC179157}">
      <dgm:prSet/>
      <dgm:spPr/>
      <dgm:t>
        <a:bodyPr/>
        <a:lstStyle/>
        <a:p>
          <a:endParaRPr lang="en-US"/>
        </a:p>
      </dgm:t>
    </dgm:pt>
    <dgm:pt modelId="{B5C625AD-6EC0-463F-A3B3-5D662ED14129}" type="sibTrans" cxnId="{728BBDD5-A4FA-4A27-B138-797FCC179157}">
      <dgm:prSet/>
      <dgm:spPr/>
      <dgm:t>
        <a:bodyPr/>
        <a:lstStyle/>
        <a:p>
          <a:endParaRPr lang="en-US"/>
        </a:p>
      </dgm:t>
    </dgm:pt>
    <dgm:pt modelId="{85BDA64C-980C-40E3-9454-22DF6F93723A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Jayadratha - (3,5) to </a:t>
          </a:r>
          <a:r>
            <a:rPr lang="de-DE" dirty="0">
              <a:solidFill>
                <a:srgbClr val="FF0000"/>
              </a:solidFill>
            </a:rPr>
            <a:t>goal  (3,3)</a:t>
          </a:r>
          <a:endParaRPr lang="en-US" dirty="0">
            <a:solidFill>
              <a:srgbClr val="FF0000"/>
            </a:solidFill>
          </a:endParaRPr>
        </a:p>
      </dgm:t>
    </dgm:pt>
    <dgm:pt modelId="{FC9F9548-65B1-4993-9BF2-0490836C1B7E}" type="parTrans" cxnId="{FF82DAE0-B0B4-4F60-A708-60EEE74CF4C9}">
      <dgm:prSet/>
      <dgm:spPr/>
      <dgm:t>
        <a:bodyPr/>
        <a:lstStyle/>
        <a:p>
          <a:endParaRPr lang="en-US"/>
        </a:p>
      </dgm:t>
    </dgm:pt>
    <dgm:pt modelId="{55ED803C-3CE0-491C-91D1-30539088547A}" type="sibTrans" cxnId="{FF82DAE0-B0B4-4F60-A708-60EEE74CF4C9}">
      <dgm:prSet/>
      <dgm:spPr/>
      <dgm:t>
        <a:bodyPr/>
        <a:lstStyle/>
        <a:p>
          <a:endParaRPr lang="en-US"/>
        </a:p>
      </dgm:t>
    </dgm:pt>
    <dgm:pt modelId="{5A581520-E5D5-4336-A8C5-6595AA460989}">
      <dgm:prSet/>
      <dgm:spPr/>
      <dgm:t>
        <a:bodyPr/>
        <a:lstStyle/>
        <a:p>
          <a:r>
            <a:rPr lang="de-DE" dirty="0"/>
            <a:t>Health score</a:t>
          </a:r>
          <a:endParaRPr lang="en-US" dirty="0"/>
        </a:p>
      </dgm:t>
    </dgm:pt>
    <dgm:pt modelId="{4CD59AFA-9419-43F8-B435-D854F46DDE53}" type="parTrans" cxnId="{0D04C8D1-E080-4B0E-B84B-C66E2C16D4D0}">
      <dgm:prSet/>
      <dgm:spPr/>
      <dgm:t>
        <a:bodyPr/>
        <a:lstStyle/>
        <a:p>
          <a:endParaRPr lang="en-US"/>
        </a:p>
      </dgm:t>
    </dgm:pt>
    <dgm:pt modelId="{71801200-F159-4C27-88BD-B30179DD065C}" type="sibTrans" cxnId="{0D04C8D1-E080-4B0E-B84B-C66E2C16D4D0}">
      <dgm:prSet/>
      <dgm:spPr/>
      <dgm:t>
        <a:bodyPr/>
        <a:lstStyle/>
        <a:p>
          <a:endParaRPr lang="en-US"/>
        </a:p>
      </dgm:t>
    </dgm:pt>
    <dgm:pt modelId="{B29F3E75-AAB2-4802-8B92-E900D84BEC56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Karn - 3 </a:t>
          </a:r>
          <a:r>
            <a:rPr lang="de-DE" dirty="0">
              <a:sym typeface="Wingdings" panose="05000000000000000000" pitchFamily="2" charset="2"/>
            </a:rPr>
            <a:t></a:t>
          </a:r>
          <a:r>
            <a:rPr lang="de-DE" dirty="0"/>
            <a:t> </a:t>
          </a:r>
          <a:r>
            <a:rPr lang="de-DE" dirty="0">
              <a:solidFill>
                <a:srgbClr val="FF0000"/>
              </a:solidFill>
            </a:rPr>
            <a:t>0 += Penalty</a:t>
          </a:r>
          <a:endParaRPr lang="en-US" dirty="0">
            <a:solidFill>
              <a:srgbClr val="FF0000"/>
            </a:solidFill>
          </a:endParaRPr>
        </a:p>
      </dgm:t>
    </dgm:pt>
    <dgm:pt modelId="{24FAAEDB-70E7-47FF-A078-51058ECBB3AD}" type="parTrans" cxnId="{31CFC1E0-DABD-4AEB-810D-E17290E0A3AC}">
      <dgm:prSet/>
      <dgm:spPr/>
      <dgm:t>
        <a:bodyPr/>
        <a:lstStyle/>
        <a:p>
          <a:endParaRPr lang="en-US"/>
        </a:p>
      </dgm:t>
    </dgm:pt>
    <dgm:pt modelId="{58F32E04-86DB-4E6C-9585-3F981213535B}" type="sibTrans" cxnId="{31CFC1E0-DABD-4AEB-810D-E17290E0A3AC}">
      <dgm:prSet/>
      <dgm:spPr/>
      <dgm:t>
        <a:bodyPr/>
        <a:lstStyle/>
        <a:p>
          <a:endParaRPr lang="en-US"/>
        </a:p>
      </dgm:t>
    </dgm:pt>
    <dgm:pt modelId="{A34EB7E6-D682-419B-8386-319CEFBD3986}">
      <dgm:prSet/>
      <dgm:spPr/>
      <dgm:t>
        <a:bodyPr/>
        <a:lstStyle/>
        <a:p>
          <a:r>
            <a:rPr lang="de-DE" dirty="0"/>
            <a:t>Score multipier</a:t>
          </a:r>
          <a:endParaRPr lang="en-US" dirty="0"/>
        </a:p>
      </dgm:t>
    </dgm:pt>
    <dgm:pt modelId="{9854B9E4-7250-4B08-A7A3-A2BBC63374F1}" type="parTrans" cxnId="{9E83F44C-FECD-4AD4-B85A-AE09AFFE38F0}">
      <dgm:prSet/>
      <dgm:spPr/>
      <dgm:t>
        <a:bodyPr/>
        <a:lstStyle/>
        <a:p>
          <a:endParaRPr lang="en-US"/>
        </a:p>
      </dgm:t>
    </dgm:pt>
    <dgm:pt modelId="{8A81042B-1BDD-4C5D-9830-4F7BCA6BC11E}" type="sibTrans" cxnId="{9E83F44C-FECD-4AD4-B85A-AE09AFFE38F0}">
      <dgm:prSet/>
      <dgm:spPr/>
      <dgm:t>
        <a:bodyPr/>
        <a:lstStyle/>
        <a:p>
          <a:endParaRPr lang="en-US"/>
        </a:p>
      </dgm:t>
    </dgm:pt>
    <dgm:pt modelId="{2506CF09-A199-4B55-865C-B8FEF4B6D8D5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/>
            <a:t>Balaram - Reward : X </a:t>
          </a:r>
          <a:r>
            <a:rPr lang="de-DE" dirty="0">
              <a:sym typeface="Wingdings" panose="05000000000000000000" pitchFamily="2" charset="2"/>
            </a:rPr>
            <a:t></a:t>
          </a:r>
          <a:r>
            <a:rPr lang="de-DE" dirty="0"/>
            <a:t> </a:t>
          </a:r>
          <a:r>
            <a:rPr lang="de-DE" dirty="0">
              <a:solidFill>
                <a:srgbClr val="FF0000"/>
              </a:solidFill>
            </a:rPr>
            <a:t>4X</a:t>
          </a:r>
          <a:endParaRPr lang="en-US" dirty="0">
            <a:solidFill>
              <a:srgbClr val="FF0000"/>
            </a:solidFill>
          </a:endParaRPr>
        </a:p>
      </dgm:t>
    </dgm:pt>
    <dgm:pt modelId="{248F2815-E1CA-4E8E-81FB-0F397800C002}" type="parTrans" cxnId="{3DA9EB44-A146-4902-B759-7FCF644200B5}">
      <dgm:prSet/>
      <dgm:spPr/>
      <dgm:t>
        <a:bodyPr/>
        <a:lstStyle/>
        <a:p>
          <a:endParaRPr lang="en-US"/>
        </a:p>
      </dgm:t>
    </dgm:pt>
    <dgm:pt modelId="{516CAF15-5CA3-44DF-B47E-B2FDC19EA191}" type="sibTrans" cxnId="{3DA9EB44-A146-4902-B759-7FCF644200B5}">
      <dgm:prSet/>
      <dgm:spPr/>
      <dgm:t>
        <a:bodyPr/>
        <a:lstStyle/>
        <a:p>
          <a:endParaRPr lang="en-US"/>
        </a:p>
      </dgm:t>
    </dgm:pt>
    <dgm:pt modelId="{F37DC89E-95D3-4CFB-A100-84C0E737ECD4}">
      <dgm:prSet/>
      <dgm:spPr/>
      <dgm:t>
        <a:bodyPr/>
        <a:lstStyle/>
        <a:p>
          <a:r>
            <a:rPr lang="de-DE"/>
            <a:t>Game over</a:t>
          </a:r>
          <a:endParaRPr lang="en-US"/>
        </a:p>
      </dgm:t>
    </dgm:pt>
    <dgm:pt modelId="{B6DD95FA-32A4-4BCF-8F38-AF72969B606D}" type="parTrans" cxnId="{BCA872D9-9996-447B-9200-5614416DD66C}">
      <dgm:prSet/>
      <dgm:spPr/>
      <dgm:t>
        <a:bodyPr/>
        <a:lstStyle/>
        <a:p>
          <a:endParaRPr lang="en-US"/>
        </a:p>
      </dgm:t>
    </dgm:pt>
    <dgm:pt modelId="{0235827C-01DA-42DC-8E31-2C88A6FE4296}" type="sibTrans" cxnId="{BCA872D9-9996-447B-9200-5614416DD66C}">
      <dgm:prSet/>
      <dgm:spPr/>
      <dgm:t>
        <a:bodyPr/>
        <a:lstStyle/>
        <a:p>
          <a:endParaRPr lang="en-US"/>
        </a:p>
      </dgm:t>
    </dgm:pt>
    <dgm:pt modelId="{346B99DA-865E-41B0-8B07-0442542400E9}">
      <dgm:prSet/>
      <dgm:spPr/>
      <dgm:t>
        <a:bodyPr/>
        <a:lstStyle/>
        <a:p>
          <a:pPr>
            <a:buFont typeface="+mj-lt"/>
            <a:buAutoNum type="arabicPeriod"/>
          </a:pPr>
          <a:r>
            <a:rPr lang="de-DE" dirty="0">
              <a:solidFill>
                <a:schemeClr val="bg1"/>
              </a:solidFill>
              <a:sym typeface="Wingdings" panose="05000000000000000000" pitchFamily="2" charset="2"/>
            </a:rPr>
            <a:t> Vikarna - </a:t>
          </a:r>
          <a:r>
            <a:rPr lang="de-DE" dirty="0">
              <a:solidFill>
                <a:srgbClr val="FF0000"/>
              </a:solidFill>
              <a:sym typeface="Wingdings" panose="05000000000000000000" pitchFamily="2" charset="2"/>
            </a:rPr>
            <a:t>  </a:t>
          </a:r>
          <a:endParaRPr lang="en-US" dirty="0">
            <a:solidFill>
              <a:srgbClr val="FF0000"/>
            </a:solidFill>
          </a:endParaRPr>
        </a:p>
      </dgm:t>
    </dgm:pt>
    <dgm:pt modelId="{97308930-C11A-4077-9021-0E0EF884AE8B}" type="parTrans" cxnId="{97A94285-3049-4154-B75E-6F7ED5D88E27}">
      <dgm:prSet/>
      <dgm:spPr/>
      <dgm:t>
        <a:bodyPr/>
        <a:lstStyle/>
        <a:p>
          <a:endParaRPr lang="en-US"/>
        </a:p>
      </dgm:t>
    </dgm:pt>
    <dgm:pt modelId="{05E73854-0B72-4585-8E44-CE1508E0B124}" type="sibTrans" cxnId="{97A94285-3049-4154-B75E-6F7ED5D88E27}">
      <dgm:prSet/>
      <dgm:spPr/>
      <dgm:t>
        <a:bodyPr/>
        <a:lstStyle/>
        <a:p>
          <a:endParaRPr lang="en-US"/>
        </a:p>
      </dgm:t>
    </dgm:pt>
    <dgm:pt modelId="{057F8454-4BB6-4F26-9E98-7611D7F0FB55}" type="pres">
      <dgm:prSet presAssocID="{C1D32FA3-F1F6-44E0-8942-CB5ABD41575B}" presName="Name0" presStyleCnt="0">
        <dgm:presLayoutVars>
          <dgm:dir/>
          <dgm:animLvl val="lvl"/>
          <dgm:resizeHandles val="exact"/>
        </dgm:presLayoutVars>
      </dgm:prSet>
      <dgm:spPr/>
    </dgm:pt>
    <dgm:pt modelId="{625AE9FE-4019-4058-A1FB-99E62135DA1F}" type="pres">
      <dgm:prSet presAssocID="{029B46A8-47EB-4A4B-9747-E3BD4BA6B60E}" presName="linNode" presStyleCnt="0"/>
      <dgm:spPr/>
    </dgm:pt>
    <dgm:pt modelId="{CC1E004B-78A6-4821-80A4-402498A9601E}" type="pres">
      <dgm:prSet presAssocID="{029B46A8-47EB-4A4B-9747-E3BD4BA6B60E}" presName="parTx" presStyleLbl="revTx" presStyleIdx="0" presStyleCnt="7">
        <dgm:presLayoutVars>
          <dgm:chMax val="1"/>
          <dgm:bulletEnabled val="1"/>
        </dgm:presLayoutVars>
      </dgm:prSet>
      <dgm:spPr/>
    </dgm:pt>
    <dgm:pt modelId="{A50ED7ED-2127-4722-9954-59FDCB6E3C1B}" type="pres">
      <dgm:prSet presAssocID="{029B46A8-47EB-4A4B-9747-E3BD4BA6B60E}" presName="bracket" presStyleLbl="parChTrans1D1" presStyleIdx="0" presStyleCnt="7"/>
      <dgm:spPr/>
    </dgm:pt>
    <dgm:pt modelId="{452A3EE8-EF2D-4A7C-9D7A-F46E0799ECC7}" type="pres">
      <dgm:prSet presAssocID="{029B46A8-47EB-4A4B-9747-E3BD4BA6B60E}" presName="spH" presStyleCnt="0"/>
      <dgm:spPr/>
    </dgm:pt>
    <dgm:pt modelId="{5F6DC01B-4709-400A-B1D9-EAB136747817}" type="pres">
      <dgm:prSet presAssocID="{029B46A8-47EB-4A4B-9747-E3BD4BA6B60E}" presName="desTx" presStyleLbl="node1" presStyleIdx="0" presStyleCnt="7">
        <dgm:presLayoutVars>
          <dgm:bulletEnabled val="1"/>
        </dgm:presLayoutVars>
      </dgm:prSet>
      <dgm:spPr/>
    </dgm:pt>
    <dgm:pt modelId="{0089260D-B10C-4B85-9569-E35D1E5FB82F}" type="pres">
      <dgm:prSet presAssocID="{7B7F7F9A-540D-4DC8-B1CE-C1A5AC148A0C}" presName="spV" presStyleCnt="0"/>
      <dgm:spPr/>
    </dgm:pt>
    <dgm:pt modelId="{9554586E-3F95-4B5E-B758-68516E32149B}" type="pres">
      <dgm:prSet presAssocID="{7577DE35-5346-40D1-B230-9358EA1C772C}" presName="linNode" presStyleCnt="0"/>
      <dgm:spPr/>
    </dgm:pt>
    <dgm:pt modelId="{810995D9-D1EC-49C5-89ED-3ACEBA56CA1F}" type="pres">
      <dgm:prSet presAssocID="{7577DE35-5346-40D1-B230-9358EA1C772C}" presName="parTx" presStyleLbl="revTx" presStyleIdx="1" presStyleCnt="7">
        <dgm:presLayoutVars>
          <dgm:chMax val="1"/>
          <dgm:bulletEnabled val="1"/>
        </dgm:presLayoutVars>
      </dgm:prSet>
      <dgm:spPr/>
    </dgm:pt>
    <dgm:pt modelId="{35272306-0319-4746-A21F-3E08F0B04B4C}" type="pres">
      <dgm:prSet presAssocID="{7577DE35-5346-40D1-B230-9358EA1C772C}" presName="bracket" presStyleLbl="parChTrans1D1" presStyleIdx="1" presStyleCnt="7"/>
      <dgm:spPr/>
    </dgm:pt>
    <dgm:pt modelId="{842D02E5-8112-447A-808F-3CB9AF6F2ADF}" type="pres">
      <dgm:prSet presAssocID="{7577DE35-5346-40D1-B230-9358EA1C772C}" presName="spH" presStyleCnt="0"/>
      <dgm:spPr/>
    </dgm:pt>
    <dgm:pt modelId="{B9E2E3B8-5D93-4F75-8AF7-4EC0CCD50DAA}" type="pres">
      <dgm:prSet presAssocID="{7577DE35-5346-40D1-B230-9358EA1C772C}" presName="desTx" presStyleLbl="node1" presStyleIdx="1" presStyleCnt="7">
        <dgm:presLayoutVars>
          <dgm:bulletEnabled val="1"/>
        </dgm:presLayoutVars>
      </dgm:prSet>
      <dgm:spPr/>
    </dgm:pt>
    <dgm:pt modelId="{E03FF0D5-04B8-4EA0-BA3B-D79A2790FD88}" type="pres">
      <dgm:prSet presAssocID="{4D32CD19-3531-434D-A2D0-D29055E7FD2E}" presName="spV" presStyleCnt="0"/>
      <dgm:spPr/>
    </dgm:pt>
    <dgm:pt modelId="{C8E02CE8-20E8-466A-9B28-EC030DF86F71}" type="pres">
      <dgm:prSet presAssocID="{6D46B9F1-1ED7-4FD2-9685-76B3A20AB4DA}" presName="linNode" presStyleCnt="0"/>
      <dgm:spPr/>
    </dgm:pt>
    <dgm:pt modelId="{CB552428-9B85-4305-90E6-E347A9601C0C}" type="pres">
      <dgm:prSet presAssocID="{6D46B9F1-1ED7-4FD2-9685-76B3A20AB4DA}" presName="parTx" presStyleLbl="revTx" presStyleIdx="2" presStyleCnt="7">
        <dgm:presLayoutVars>
          <dgm:chMax val="1"/>
          <dgm:bulletEnabled val="1"/>
        </dgm:presLayoutVars>
      </dgm:prSet>
      <dgm:spPr/>
    </dgm:pt>
    <dgm:pt modelId="{60A626AD-1F2E-41DF-AA64-ACB755354302}" type="pres">
      <dgm:prSet presAssocID="{6D46B9F1-1ED7-4FD2-9685-76B3A20AB4DA}" presName="bracket" presStyleLbl="parChTrans1D1" presStyleIdx="2" presStyleCnt="7"/>
      <dgm:spPr/>
    </dgm:pt>
    <dgm:pt modelId="{45F28A5D-5B2F-4CBD-A0F4-894B39FCC25A}" type="pres">
      <dgm:prSet presAssocID="{6D46B9F1-1ED7-4FD2-9685-76B3A20AB4DA}" presName="spH" presStyleCnt="0"/>
      <dgm:spPr/>
    </dgm:pt>
    <dgm:pt modelId="{5C572AD6-A72B-4409-8454-EADF5738DABD}" type="pres">
      <dgm:prSet presAssocID="{6D46B9F1-1ED7-4FD2-9685-76B3A20AB4DA}" presName="desTx" presStyleLbl="node1" presStyleIdx="2" presStyleCnt="7">
        <dgm:presLayoutVars>
          <dgm:bulletEnabled val="1"/>
        </dgm:presLayoutVars>
      </dgm:prSet>
      <dgm:spPr/>
    </dgm:pt>
    <dgm:pt modelId="{AD14B75F-EEAF-4524-91E4-3F9F57B378AD}" type="pres">
      <dgm:prSet presAssocID="{7762DDC2-33EE-44BC-88A8-BE9DACB1877F}" presName="spV" presStyleCnt="0"/>
      <dgm:spPr/>
    </dgm:pt>
    <dgm:pt modelId="{F34467E5-C23D-4E8A-9DA8-E4AC4DBDFA26}" type="pres">
      <dgm:prSet presAssocID="{4444435B-62A6-4218-A4B5-09815847698E}" presName="linNode" presStyleCnt="0"/>
      <dgm:spPr/>
    </dgm:pt>
    <dgm:pt modelId="{854B1CA4-8A6F-49B2-A7F5-499B86E4ACEB}" type="pres">
      <dgm:prSet presAssocID="{4444435B-62A6-4218-A4B5-09815847698E}" presName="parTx" presStyleLbl="revTx" presStyleIdx="3" presStyleCnt="7">
        <dgm:presLayoutVars>
          <dgm:chMax val="1"/>
          <dgm:bulletEnabled val="1"/>
        </dgm:presLayoutVars>
      </dgm:prSet>
      <dgm:spPr/>
    </dgm:pt>
    <dgm:pt modelId="{D1F7AE9C-83BA-4800-AB4F-1E67339D2F4B}" type="pres">
      <dgm:prSet presAssocID="{4444435B-62A6-4218-A4B5-09815847698E}" presName="bracket" presStyleLbl="parChTrans1D1" presStyleIdx="3" presStyleCnt="7"/>
      <dgm:spPr/>
    </dgm:pt>
    <dgm:pt modelId="{B40D93F5-C24D-49B5-90B9-D3D623874174}" type="pres">
      <dgm:prSet presAssocID="{4444435B-62A6-4218-A4B5-09815847698E}" presName="spH" presStyleCnt="0"/>
      <dgm:spPr/>
    </dgm:pt>
    <dgm:pt modelId="{B10C37F3-EA83-47E0-A762-E2602A2B4788}" type="pres">
      <dgm:prSet presAssocID="{4444435B-62A6-4218-A4B5-09815847698E}" presName="desTx" presStyleLbl="node1" presStyleIdx="3" presStyleCnt="7">
        <dgm:presLayoutVars>
          <dgm:bulletEnabled val="1"/>
        </dgm:presLayoutVars>
      </dgm:prSet>
      <dgm:spPr/>
    </dgm:pt>
    <dgm:pt modelId="{3DEF5D92-C70F-4287-9DEF-C99A2463F2CE}" type="pres">
      <dgm:prSet presAssocID="{B5C625AD-6EC0-463F-A3B3-5D662ED14129}" presName="spV" presStyleCnt="0"/>
      <dgm:spPr/>
    </dgm:pt>
    <dgm:pt modelId="{C66ED1C9-8014-4F7C-B311-DA910CB909C0}" type="pres">
      <dgm:prSet presAssocID="{5A581520-E5D5-4336-A8C5-6595AA460989}" presName="linNode" presStyleCnt="0"/>
      <dgm:spPr/>
    </dgm:pt>
    <dgm:pt modelId="{016615FD-5DEC-42D6-A4D0-DAC846F854A8}" type="pres">
      <dgm:prSet presAssocID="{5A581520-E5D5-4336-A8C5-6595AA460989}" presName="parTx" presStyleLbl="revTx" presStyleIdx="4" presStyleCnt="7">
        <dgm:presLayoutVars>
          <dgm:chMax val="1"/>
          <dgm:bulletEnabled val="1"/>
        </dgm:presLayoutVars>
      </dgm:prSet>
      <dgm:spPr/>
    </dgm:pt>
    <dgm:pt modelId="{7E1CA661-593D-4130-AA2D-1DED6E555118}" type="pres">
      <dgm:prSet presAssocID="{5A581520-E5D5-4336-A8C5-6595AA460989}" presName="bracket" presStyleLbl="parChTrans1D1" presStyleIdx="4" presStyleCnt="7"/>
      <dgm:spPr/>
    </dgm:pt>
    <dgm:pt modelId="{45FA827D-50F2-44F9-8BCD-39C01853190D}" type="pres">
      <dgm:prSet presAssocID="{5A581520-E5D5-4336-A8C5-6595AA460989}" presName="spH" presStyleCnt="0"/>
      <dgm:spPr/>
    </dgm:pt>
    <dgm:pt modelId="{DC097320-BFA6-4E7F-A4AA-0CAD7480023A}" type="pres">
      <dgm:prSet presAssocID="{5A581520-E5D5-4336-A8C5-6595AA460989}" presName="desTx" presStyleLbl="node1" presStyleIdx="4" presStyleCnt="7">
        <dgm:presLayoutVars>
          <dgm:bulletEnabled val="1"/>
        </dgm:presLayoutVars>
      </dgm:prSet>
      <dgm:spPr/>
    </dgm:pt>
    <dgm:pt modelId="{6B4E5000-D0C4-4294-B150-25021C197A00}" type="pres">
      <dgm:prSet presAssocID="{71801200-F159-4C27-88BD-B30179DD065C}" presName="spV" presStyleCnt="0"/>
      <dgm:spPr/>
    </dgm:pt>
    <dgm:pt modelId="{1FDDA98C-B36E-406A-A17C-6EBA416C0FE4}" type="pres">
      <dgm:prSet presAssocID="{A34EB7E6-D682-419B-8386-319CEFBD3986}" presName="linNode" presStyleCnt="0"/>
      <dgm:spPr/>
    </dgm:pt>
    <dgm:pt modelId="{DAD51A06-3646-4AF7-BC4C-024B5FD28BF5}" type="pres">
      <dgm:prSet presAssocID="{A34EB7E6-D682-419B-8386-319CEFBD3986}" presName="parTx" presStyleLbl="revTx" presStyleIdx="5" presStyleCnt="7">
        <dgm:presLayoutVars>
          <dgm:chMax val="1"/>
          <dgm:bulletEnabled val="1"/>
        </dgm:presLayoutVars>
      </dgm:prSet>
      <dgm:spPr/>
    </dgm:pt>
    <dgm:pt modelId="{1F1FA0A8-19D1-4B70-AAEF-C9B93251A7AB}" type="pres">
      <dgm:prSet presAssocID="{A34EB7E6-D682-419B-8386-319CEFBD3986}" presName="bracket" presStyleLbl="parChTrans1D1" presStyleIdx="5" presStyleCnt="7"/>
      <dgm:spPr/>
    </dgm:pt>
    <dgm:pt modelId="{22E020B9-CBB4-4FE0-B9C8-31770B35220D}" type="pres">
      <dgm:prSet presAssocID="{A34EB7E6-D682-419B-8386-319CEFBD3986}" presName="spH" presStyleCnt="0"/>
      <dgm:spPr/>
    </dgm:pt>
    <dgm:pt modelId="{3F4A985B-F2EE-42AA-8656-72F48C49FB19}" type="pres">
      <dgm:prSet presAssocID="{A34EB7E6-D682-419B-8386-319CEFBD3986}" presName="desTx" presStyleLbl="node1" presStyleIdx="5" presStyleCnt="7">
        <dgm:presLayoutVars>
          <dgm:bulletEnabled val="1"/>
        </dgm:presLayoutVars>
      </dgm:prSet>
      <dgm:spPr/>
    </dgm:pt>
    <dgm:pt modelId="{A4107CE6-30F7-4DFE-AA54-D4B87FA0CD8C}" type="pres">
      <dgm:prSet presAssocID="{8A81042B-1BDD-4C5D-9830-4F7BCA6BC11E}" presName="spV" presStyleCnt="0"/>
      <dgm:spPr/>
    </dgm:pt>
    <dgm:pt modelId="{D7D95BBF-D39F-46C8-BD70-D15DA95D52C6}" type="pres">
      <dgm:prSet presAssocID="{F37DC89E-95D3-4CFB-A100-84C0E737ECD4}" presName="linNode" presStyleCnt="0"/>
      <dgm:spPr/>
    </dgm:pt>
    <dgm:pt modelId="{0CD20BC7-C56D-4E6F-8B1A-4237C6089427}" type="pres">
      <dgm:prSet presAssocID="{F37DC89E-95D3-4CFB-A100-84C0E737ECD4}" presName="parTx" presStyleLbl="revTx" presStyleIdx="6" presStyleCnt="7">
        <dgm:presLayoutVars>
          <dgm:chMax val="1"/>
          <dgm:bulletEnabled val="1"/>
        </dgm:presLayoutVars>
      </dgm:prSet>
      <dgm:spPr/>
    </dgm:pt>
    <dgm:pt modelId="{FEB7EB45-217B-45FD-A618-3E806DEA5D33}" type="pres">
      <dgm:prSet presAssocID="{F37DC89E-95D3-4CFB-A100-84C0E737ECD4}" presName="bracket" presStyleLbl="parChTrans1D1" presStyleIdx="6" presStyleCnt="7"/>
      <dgm:spPr/>
    </dgm:pt>
    <dgm:pt modelId="{2EA2EC1A-E9E7-411B-8542-F4779FB1DF5E}" type="pres">
      <dgm:prSet presAssocID="{F37DC89E-95D3-4CFB-A100-84C0E737ECD4}" presName="spH" presStyleCnt="0"/>
      <dgm:spPr/>
    </dgm:pt>
    <dgm:pt modelId="{CB40C16B-BC55-4F62-8A06-29BE54969F89}" type="pres">
      <dgm:prSet presAssocID="{F37DC89E-95D3-4CFB-A100-84C0E737ECD4}" presName="desTx" presStyleLbl="node1" presStyleIdx="6" presStyleCnt="7">
        <dgm:presLayoutVars>
          <dgm:bulletEnabled val="1"/>
        </dgm:presLayoutVars>
      </dgm:prSet>
      <dgm:spPr/>
    </dgm:pt>
  </dgm:ptLst>
  <dgm:cxnLst>
    <dgm:cxn modelId="{8C0C1E01-CAE9-474D-8C2D-69AF787EB38C}" type="presOf" srcId="{AFD458D4-F957-4470-A468-4DAED27EAA25}" destId="{5F6DC01B-4709-400A-B1D9-EAB136747817}" srcOrd="0" destOrd="0" presId="urn:diagrams.loki3.com/BracketList"/>
    <dgm:cxn modelId="{0627400B-A04A-4556-9A12-E15A23D28B40}" type="presOf" srcId="{029B46A8-47EB-4A4B-9747-E3BD4BA6B60E}" destId="{CC1E004B-78A6-4821-80A4-402498A9601E}" srcOrd="0" destOrd="0" presId="urn:diagrams.loki3.com/BracketList"/>
    <dgm:cxn modelId="{F13FEA0B-74A5-4592-A360-D94291BBF7C7}" type="presOf" srcId="{85BDA64C-980C-40E3-9454-22DF6F93723A}" destId="{B10C37F3-EA83-47E0-A762-E2602A2B4788}" srcOrd="0" destOrd="0" presId="urn:diagrams.loki3.com/BracketList"/>
    <dgm:cxn modelId="{C70EC514-EC21-4BF9-8B19-DD6581BA2459}" srcId="{C1D32FA3-F1F6-44E0-8942-CB5ABD41575B}" destId="{6D46B9F1-1ED7-4FD2-9685-76B3A20AB4DA}" srcOrd="2" destOrd="0" parTransId="{CBCE52F7-A6E3-44EF-AFA5-B52803F76922}" sibTransId="{7762DDC2-33EE-44BC-88A8-BE9DACB1877F}"/>
    <dgm:cxn modelId="{04163A17-F1B2-448F-837D-2F56FA9B5FEE}" srcId="{C1D32FA3-F1F6-44E0-8942-CB5ABD41575B}" destId="{7577DE35-5346-40D1-B230-9358EA1C772C}" srcOrd="1" destOrd="0" parTransId="{EB4A565A-7BA6-45F7-8A89-0DA9A0C39540}" sibTransId="{4D32CD19-3531-434D-A2D0-D29055E7FD2E}"/>
    <dgm:cxn modelId="{9DDDFB1C-DB59-4438-B5D3-D04014127EDA}" srcId="{6D46B9F1-1ED7-4FD2-9685-76B3A20AB4DA}" destId="{0F83F6E9-3366-49C4-A153-E2D5292D7991}" srcOrd="1" destOrd="0" parTransId="{D4327017-C422-4028-9A07-EEC89268A448}" sibTransId="{436F2CF0-F317-46DC-AA1A-93AD5454C2E9}"/>
    <dgm:cxn modelId="{34AD245B-FDDB-4F05-905D-358569A3FBB3}" type="presOf" srcId="{6D46B9F1-1ED7-4FD2-9685-76B3A20AB4DA}" destId="{CB552428-9B85-4305-90E6-E347A9601C0C}" srcOrd="0" destOrd="0" presId="urn:diagrams.loki3.com/BracketList"/>
    <dgm:cxn modelId="{24E6D163-F238-45DD-BA3D-B10357B047EA}" srcId="{7577DE35-5346-40D1-B230-9358EA1C772C}" destId="{5AD88A9A-8551-470F-8287-DA7D907CBFD3}" srcOrd="0" destOrd="0" parTransId="{A1F69182-C9E8-41BD-ACA3-830D71AEB99B}" sibTransId="{F172ED8B-9A52-4F7F-9BA7-B8321CF668F0}"/>
    <dgm:cxn modelId="{3DA9EB44-A146-4902-B759-7FCF644200B5}" srcId="{A34EB7E6-D682-419B-8386-319CEFBD3986}" destId="{2506CF09-A199-4B55-865C-B8FEF4B6D8D5}" srcOrd="0" destOrd="0" parTransId="{248F2815-E1CA-4E8E-81FB-0F397800C002}" sibTransId="{516CAF15-5CA3-44DF-B47E-B2FDC19EA191}"/>
    <dgm:cxn modelId="{D4456869-A396-4C14-98A3-2C2F694D6C80}" type="presOf" srcId="{A34EB7E6-D682-419B-8386-319CEFBD3986}" destId="{DAD51A06-3646-4AF7-BC4C-024B5FD28BF5}" srcOrd="0" destOrd="0" presId="urn:diagrams.loki3.com/BracketList"/>
    <dgm:cxn modelId="{3A36706B-1495-4E93-A581-D27527BDBABD}" srcId="{7577DE35-5346-40D1-B230-9358EA1C772C}" destId="{4831AE6F-8D7D-41B2-B3FB-B071C777278F}" srcOrd="2" destOrd="0" parTransId="{6CA8669B-990A-498F-938A-FA6427F093B1}" sibTransId="{421A2A47-6B40-4CD3-B5D1-D701E2FCEAA3}"/>
    <dgm:cxn modelId="{9E83F44C-FECD-4AD4-B85A-AE09AFFE38F0}" srcId="{C1D32FA3-F1F6-44E0-8942-CB5ABD41575B}" destId="{A34EB7E6-D682-419B-8386-319CEFBD3986}" srcOrd="5" destOrd="0" parTransId="{9854B9E4-7250-4B08-A7A3-A2BBC63374F1}" sibTransId="{8A81042B-1BDD-4C5D-9830-4F7BCA6BC11E}"/>
    <dgm:cxn modelId="{227FC34E-23A1-4932-9DC9-C18C6CAED17E}" type="presOf" srcId="{B29F3E75-AAB2-4802-8B92-E900D84BEC56}" destId="{DC097320-BFA6-4E7F-A4AA-0CAD7480023A}" srcOrd="0" destOrd="0" presId="urn:diagrams.loki3.com/BracketList"/>
    <dgm:cxn modelId="{EE49C653-F2DD-4F62-9AC4-92F50DEE759D}" srcId="{C1D32FA3-F1F6-44E0-8942-CB5ABD41575B}" destId="{029B46A8-47EB-4A4B-9747-E3BD4BA6B60E}" srcOrd="0" destOrd="0" parTransId="{FD57813D-16D3-4D99-ADFE-6E6364F8527A}" sibTransId="{7B7F7F9A-540D-4DC8-B1CE-C1A5AC148A0C}"/>
    <dgm:cxn modelId="{D376E074-EC6F-4A99-83B4-3A479FEE230B}" srcId="{029B46A8-47EB-4A4B-9747-E3BD4BA6B60E}" destId="{EF3010EA-092F-4889-B12C-9A5970044153}" srcOrd="1" destOrd="0" parTransId="{36FAA84A-B0FA-4C90-AC9C-820ECCDC7C53}" sibTransId="{8C23A64D-96D2-46E7-8C1B-89369D68EA86}"/>
    <dgm:cxn modelId="{583B0275-3235-4F7A-91B6-C43A1BA41965}" type="presOf" srcId="{18BD0E9D-E48F-4E33-854E-30E8C9C41CDC}" destId="{5C572AD6-A72B-4409-8454-EADF5738DABD}" srcOrd="0" destOrd="0" presId="urn:diagrams.loki3.com/BracketList"/>
    <dgm:cxn modelId="{E87FF559-38A2-4DB2-9103-401E141183BC}" type="presOf" srcId="{C1D32FA3-F1F6-44E0-8942-CB5ABD41575B}" destId="{057F8454-4BB6-4F26-9E98-7611D7F0FB55}" srcOrd="0" destOrd="0" presId="urn:diagrams.loki3.com/BracketList"/>
    <dgm:cxn modelId="{AED6DF7B-4658-4566-9A6A-1E27BFCAC4E8}" srcId="{7577DE35-5346-40D1-B230-9358EA1C772C}" destId="{4A50E35F-BF7E-4905-B54B-205F7DFA0417}" srcOrd="1" destOrd="0" parTransId="{8A2632D8-DC75-40F9-8983-9BB63B29548F}" sibTransId="{4C789933-D29F-48F8-84D6-419608D5A166}"/>
    <dgm:cxn modelId="{43774280-EFA6-4E16-80B6-3BBE4F06B4C9}" type="presOf" srcId="{4831AE6F-8D7D-41B2-B3FB-B071C777278F}" destId="{B9E2E3B8-5D93-4F75-8AF7-4EC0CCD50DAA}" srcOrd="0" destOrd="2" presId="urn:diagrams.loki3.com/BracketList"/>
    <dgm:cxn modelId="{97A94285-3049-4154-B75E-6F7ED5D88E27}" srcId="{F37DC89E-95D3-4CFB-A100-84C0E737ECD4}" destId="{346B99DA-865E-41B0-8B07-0442542400E9}" srcOrd="0" destOrd="0" parTransId="{97308930-C11A-4077-9021-0E0EF884AE8B}" sibTransId="{05E73854-0B72-4585-8E44-CE1508E0B124}"/>
    <dgm:cxn modelId="{1219B992-F0CE-4C8F-90F0-0F1A975AF834}" type="presOf" srcId="{0F83F6E9-3366-49C4-A153-E2D5292D7991}" destId="{5C572AD6-A72B-4409-8454-EADF5738DABD}" srcOrd="0" destOrd="1" presId="urn:diagrams.loki3.com/BracketList"/>
    <dgm:cxn modelId="{590A3D9E-54E5-4CAF-92DF-BA6C3E32CA6F}" type="presOf" srcId="{EF3010EA-092F-4889-B12C-9A5970044153}" destId="{5F6DC01B-4709-400A-B1D9-EAB136747817}" srcOrd="0" destOrd="1" presId="urn:diagrams.loki3.com/BracketList"/>
    <dgm:cxn modelId="{252EA59F-85A5-4829-A36A-1A9248C5B1C6}" srcId="{029B46A8-47EB-4A4B-9747-E3BD4BA6B60E}" destId="{AFD458D4-F957-4470-A468-4DAED27EAA25}" srcOrd="0" destOrd="0" parTransId="{68A30FE6-33BF-4E62-97DF-1C0CB3A16A2F}" sibTransId="{6D1D45DA-20DF-4D4E-893D-64133979CD3D}"/>
    <dgm:cxn modelId="{076144A3-9A7C-4074-B1CE-D6BB08EFAE51}" type="presOf" srcId="{5A581520-E5D5-4336-A8C5-6595AA460989}" destId="{016615FD-5DEC-42D6-A4D0-DAC846F854A8}" srcOrd="0" destOrd="0" presId="urn:diagrams.loki3.com/BracketList"/>
    <dgm:cxn modelId="{D00F6AA7-FF2D-49EF-9345-9683AF9A5021}" type="presOf" srcId="{F37DC89E-95D3-4CFB-A100-84C0E737ECD4}" destId="{0CD20BC7-C56D-4E6F-8B1A-4237C6089427}" srcOrd="0" destOrd="0" presId="urn:diagrams.loki3.com/BracketList"/>
    <dgm:cxn modelId="{938924BC-741D-42E8-B220-398BE583E0B1}" type="presOf" srcId="{7577DE35-5346-40D1-B230-9358EA1C772C}" destId="{810995D9-D1EC-49C5-89ED-3ACEBA56CA1F}" srcOrd="0" destOrd="0" presId="urn:diagrams.loki3.com/BracketList"/>
    <dgm:cxn modelId="{246ECACE-F4A7-49A2-B19D-41163127F7DE}" type="presOf" srcId="{4A50E35F-BF7E-4905-B54B-205F7DFA0417}" destId="{B9E2E3B8-5D93-4F75-8AF7-4EC0CCD50DAA}" srcOrd="0" destOrd="1" presId="urn:diagrams.loki3.com/BracketList"/>
    <dgm:cxn modelId="{74FCFFD0-C521-40F5-B1C6-35CC365DDADA}" type="presOf" srcId="{346B99DA-865E-41B0-8B07-0442542400E9}" destId="{CB40C16B-BC55-4F62-8A06-29BE54969F89}" srcOrd="0" destOrd="0" presId="urn:diagrams.loki3.com/BracketList"/>
    <dgm:cxn modelId="{0D04C8D1-E080-4B0E-B84B-C66E2C16D4D0}" srcId="{C1D32FA3-F1F6-44E0-8942-CB5ABD41575B}" destId="{5A581520-E5D5-4336-A8C5-6595AA460989}" srcOrd="4" destOrd="0" parTransId="{4CD59AFA-9419-43F8-B435-D854F46DDE53}" sibTransId="{71801200-F159-4C27-88BD-B30179DD065C}"/>
    <dgm:cxn modelId="{728BBDD5-A4FA-4A27-B138-797FCC179157}" srcId="{C1D32FA3-F1F6-44E0-8942-CB5ABD41575B}" destId="{4444435B-62A6-4218-A4B5-09815847698E}" srcOrd="3" destOrd="0" parTransId="{F64FCBF3-037D-43BC-B34D-34C3D60AC5AD}" sibTransId="{B5C625AD-6EC0-463F-A3B3-5D662ED14129}"/>
    <dgm:cxn modelId="{4EA8D5D5-F430-44DE-A68D-B4F43FC59959}" srcId="{6D46B9F1-1ED7-4FD2-9685-76B3A20AB4DA}" destId="{18BD0E9D-E48F-4E33-854E-30E8C9C41CDC}" srcOrd="0" destOrd="0" parTransId="{0BA4FCBA-A880-481E-9245-F931702C1BC9}" sibTransId="{894F679F-4CAE-4F89-A0CE-34F698A88918}"/>
    <dgm:cxn modelId="{BCA872D9-9996-447B-9200-5614416DD66C}" srcId="{C1D32FA3-F1F6-44E0-8942-CB5ABD41575B}" destId="{F37DC89E-95D3-4CFB-A100-84C0E737ECD4}" srcOrd="6" destOrd="0" parTransId="{B6DD95FA-32A4-4BCF-8F38-AF72969B606D}" sibTransId="{0235827C-01DA-42DC-8E31-2C88A6FE4296}"/>
    <dgm:cxn modelId="{31CFC1E0-DABD-4AEB-810D-E17290E0A3AC}" srcId="{5A581520-E5D5-4336-A8C5-6595AA460989}" destId="{B29F3E75-AAB2-4802-8B92-E900D84BEC56}" srcOrd="0" destOrd="0" parTransId="{24FAAEDB-70E7-47FF-A078-51058ECBB3AD}" sibTransId="{58F32E04-86DB-4E6C-9585-3F981213535B}"/>
    <dgm:cxn modelId="{FF82DAE0-B0B4-4F60-A708-60EEE74CF4C9}" srcId="{4444435B-62A6-4218-A4B5-09815847698E}" destId="{85BDA64C-980C-40E3-9454-22DF6F93723A}" srcOrd="0" destOrd="0" parTransId="{FC9F9548-65B1-4993-9BF2-0490836C1B7E}" sibTransId="{55ED803C-3CE0-491C-91D1-30539088547A}"/>
    <dgm:cxn modelId="{B26100E9-BEAF-4E9F-9CED-40D633E82B0D}" type="presOf" srcId="{5AD88A9A-8551-470F-8287-DA7D907CBFD3}" destId="{B9E2E3B8-5D93-4F75-8AF7-4EC0CCD50DAA}" srcOrd="0" destOrd="0" presId="urn:diagrams.loki3.com/BracketList"/>
    <dgm:cxn modelId="{83AE59EA-07D8-4ED5-A967-EC326DCCF6C9}" type="presOf" srcId="{4444435B-62A6-4218-A4B5-09815847698E}" destId="{854B1CA4-8A6F-49B2-A7F5-499B86E4ACEB}" srcOrd="0" destOrd="0" presId="urn:diagrams.loki3.com/BracketList"/>
    <dgm:cxn modelId="{B7D17FFF-8AF8-4383-8E94-8CB6D122E88D}" type="presOf" srcId="{2506CF09-A199-4B55-865C-B8FEF4B6D8D5}" destId="{3F4A985B-F2EE-42AA-8656-72F48C49FB19}" srcOrd="0" destOrd="0" presId="urn:diagrams.loki3.com/BracketList"/>
    <dgm:cxn modelId="{9D609D19-67EF-4FB0-86C7-FEB84634221A}" type="presParOf" srcId="{057F8454-4BB6-4F26-9E98-7611D7F0FB55}" destId="{625AE9FE-4019-4058-A1FB-99E62135DA1F}" srcOrd="0" destOrd="0" presId="urn:diagrams.loki3.com/BracketList"/>
    <dgm:cxn modelId="{DE1558AC-8DF9-4C02-B56D-005CEC4AC93E}" type="presParOf" srcId="{625AE9FE-4019-4058-A1FB-99E62135DA1F}" destId="{CC1E004B-78A6-4821-80A4-402498A9601E}" srcOrd="0" destOrd="0" presId="urn:diagrams.loki3.com/BracketList"/>
    <dgm:cxn modelId="{BFDA4FA1-A056-42AB-BED0-FCDE8DCBE0F3}" type="presParOf" srcId="{625AE9FE-4019-4058-A1FB-99E62135DA1F}" destId="{A50ED7ED-2127-4722-9954-59FDCB6E3C1B}" srcOrd="1" destOrd="0" presId="urn:diagrams.loki3.com/BracketList"/>
    <dgm:cxn modelId="{3EB78F46-0734-4D4D-937F-55D1E0ED8EBC}" type="presParOf" srcId="{625AE9FE-4019-4058-A1FB-99E62135DA1F}" destId="{452A3EE8-EF2D-4A7C-9D7A-F46E0799ECC7}" srcOrd="2" destOrd="0" presId="urn:diagrams.loki3.com/BracketList"/>
    <dgm:cxn modelId="{AF534A39-89CA-4204-83DA-9F5C129F0AAF}" type="presParOf" srcId="{625AE9FE-4019-4058-A1FB-99E62135DA1F}" destId="{5F6DC01B-4709-400A-B1D9-EAB136747817}" srcOrd="3" destOrd="0" presId="urn:diagrams.loki3.com/BracketList"/>
    <dgm:cxn modelId="{1E200516-9D33-48A9-8327-2931EAD6C811}" type="presParOf" srcId="{057F8454-4BB6-4F26-9E98-7611D7F0FB55}" destId="{0089260D-B10C-4B85-9569-E35D1E5FB82F}" srcOrd="1" destOrd="0" presId="urn:diagrams.loki3.com/BracketList"/>
    <dgm:cxn modelId="{B1C852B5-E2DC-4BB2-8DF1-332B12588661}" type="presParOf" srcId="{057F8454-4BB6-4F26-9E98-7611D7F0FB55}" destId="{9554586E-3F95-4B5E-B758-68516E32149B}" srcOrd="2" destOrd="0" presId="urn:diagrams.loki3.com/BracketList"/>
    <dgm:cxn modelId="{B0778962-3190-482A-AF2D-91902C25FA0B}" type="presParOf" srcId="{9554586E-3F95-4B5E-B758-68516E32149B}" destId="{810995D9-D1EC-49C5-89ED-3ACEBA56CA1F}" srcOrd="0" destOrd="0" presId="urn:diagrams.loki3.com/BracketList"/>
    <dgm:cxn modelId="{7FA38E72-C28F-4D91-B435-67C61087BC61}" type="presParOf" srcId="{9554586E-3F95-4B5E-B758-68516E32149B}" destId="{35272306-0319-4746-A21F-3E08F0B04B4C}" srcOrd="1" destOrd="0" presId="urn:diagrams.loki3.com/BracketList"/>
    <dgm:cxn modelId="{846D29EE-30E4-4E9B-8C25-448D279530F0}" type="presParOf" srcId="{9554586E-3F95-4B5E-B758-68516E32149B}" destId="{842D02E5-8112-447A-808F-3CB9AF6F2ADF}" srcOrd="2" destOrd="0" presId="urn:diagrams.loki3.com/BracketList"/>
    <dgm:cxn modelId="{A4574E95-6636-43B8-A7CE-220D90C20E41}" type="presParOf" srcId="{9554586E-3F95-4B5E-B758-68516E32149B}" destId="{B9E2E3B8-5D93-4F75-8AF7-4EC0CCD50DAA}" srcOrd="3" destOrd="0" presId="urn:diagrams.loki3.com/BracketList"/>
    <dgm:cxn modelId="{BA6985B7-9A22-49E6-96FC-FDD784BFF3C0}" type="presParOf" srcId="{057F8454-4BB6-4F26-9E98-7611D7F0FB55}" destId="{E03FF0D5-04B8-4EA0-BA3B-D79A2790FD88}" srcOrd="3" destOrd="0" presId="urn:diagrams.loki3.com/BracketList"/>
    <dgm:cxn modelId="{D0EC76C1-80A3-47F0-B7CF-4E9FCF521A2A}" type="presParOf" srcId="{057F8454-4BB6-4F26-9E98-7611D7F0FB55}" destId="{C8E02CE8-20E8-466A-9B28-EC030DF86F71}" srcOrd="4" destOrd="0" presId="urn:diagrams.loki3.com/BracketList"/>
    <dgm:cxn modelId="{C4B67DBF-AF8A-4A82-B164-89253992178C}" type="presParOf" srcId="{C8E02CE8-20E8-466A-9B28-EC030DF86F71}" destId="{CB552428-9B85-4305-90E6-E347A9601C0C}" srcOrd="0" destOrd="0" presId="urn:diagrams.loki3.com/BracketList"/>
    <dgm:cxn modelId="{892F0CE4-9734-456F-B3F5-851BFE07E19C}" type="presParOf" srcId="{C8E02CE8-20E8-466A-9B28-EC030DF86F71}" destId="{60A626AD-1F2E-41DF-AA64-ACB755354302}" srcOrd="1" destOrd="0" presId="urn:diagrams.loki3.com/BracketList"/>
    <dgm:cxn modelId="{9F7315CC-53D3-4387-82B0-66B756F405B6}" type="presParOf" srcId="{C8E02CE8-20E8-466A-9B28-EC030DF86F71}" destId="{45F28A5D-5B2F-4CBD-A0F4-894B39FCC25A}" srcOrd="2" destOrd="0" presId="urn:diagrams.loki3.com/BracketList"/>
    <dgm:cxn modelId="{C848D9C3-8870-4303-94E4-22EB738DAFD1}" type="presParOf" srcId="{C8E02CE8-20E8-466A-9B28-EC030DF86F71}" destId="{5C572AD6-A72B-4409-8454-EADF5738DABD}" srcOrd="3" destOrd="0" presId="urn:diagrams.loki3.com/BracketList"/>
    <dgm:cxn modelId="{86DB4770-3606-41A1-B409-EE62205CC701}" type="presParOf" srcId="{057F8454-4BB6-4F26-9E98-7611D7F0FB55}" destId="{AD14B75F-EEAF-4524-91E4-3F9F57B378AD}" srcOrd="5" destOrd="0" presId="urn:diagrams.loki3.com/BracketList"/>
    <dgm:cxn modelId="{DD7FC3D0-40A9-40BA-ACCE-9185A5B0947A}" type="presParOf" srcId="{057F8454-4BB6-4F26-9E98-7611D7F0FB55}" destId="{F34467E5-C23D-4E8A-9DA8-E4AC4DBDFA26}" srcOrd="6" destOrd="0" presId="urn:diagrams.loki3.com/BracketList"/>
    <dgm:cxn modelId="{C78462A9-FD56-45C5-B99D-F2C4B7CC011D}" type="presParOf" srcId="{F34467E5-C23D-4E8A-9DA8-E4AC4DBDFA26}" destId="{854B1CA4-8A6F-49B2-A7F5-499B86E4ACEB}" srcOrd="0" destOrd="0" presId="urn:diagrams.loki3.com/BracketList"/>
    <dgm:cxn modelId="{3AABDD04-8499-4A06-A6BE-472C89B894BD}" type="presParOf" srcId="{F34467E5-C23D-4E8A-9DA8-E4AC4DBDFA26}" destId="{D1F7AE9C-83BA-4800-AB4F-1E67339D2F4B}" srcOrd="1" destOrd="0" presId="urn:diagrams.loki3.com/BracketList"/>
    <dgm:cxn modelId="{2BC1F3F1-07E7-4B5E-9AC6-60E0ECC82637}" type="presParOf" srcId="{F34467E5-C23D-4E8A-9DA8-E4AC4DBDFA26}" destId="{B40D93F5-C24D-49B5-90B9-D3D623874174}" srcOrd="2" destOrd="0" presId="urn:diagrams.loki3.com/BracketList"/>
    <dgm:cxn modelId="{A1357155-82C8-4694-9813-48EB3938DA0E}" type="presParOf" srcId="{F34467E5-C23D-4E8A-9DA8-E4AC4DBDFA26}" destId="{B10C37F3-EA83-47E0-A762-E2602A2B4788}" srcOrd="3" destOrd="0" presId="urn:diagrams.loki3.com/BracketList"/>
    <dgm:cxn modelId="{59DFCAB7-3E9C-425E-AECA-B563FD5C5172}" type="presParOf" srcId="{057F8454-4BB6-4F26-9E98-7611D7F0FB55}" destId="{3DEF5D92-C70F-4287-9DEF-C99A2463F2CE}" srcOrd="7" destOrd="0" presId="urn:diagrams.loki3.com/BracketList"/>
    <dgm:cxn modelId="{F17EA113-BBA8-4832-88D5-93823C7E566D}" type="presParOf" srcId="{057F8454-4BB6-4F26-9E98-7611D7F0FB55}" destId="{C66ED1C9-8014-4F7C-B311-DA910CB909C0}" srcOrd="8" destOrd="0" presId="urn:diagrams.loki3.com/BracketList"/>
    <dgm:cxn modelId="{1728A9C5-08E5-4349-96FB-02F2D02F6BDA}" type="presParOf" srcId="{C66ED1C9-8014-4F7C-B311-DA910CB909C0}" destId="{016615FD-5DEC-42D6-A4D0-DAC846F854A8}" srcOrd="0" destOrd="0" presId="urn:diagrams.loki3.com/BracketList"/>
    <dgm:cxn modelId="{ACCCE824-CD72-498C-914B-CC165009A765}" type="presParOf" srcId="{C66ED1C9-8014-4F7C-B311-DA910CB909C0}" destId="{7E1CA661-593D-4130-AA2D-1DED6E555118}" srcOrd="1" destOrd="0" presId="urn:diagrams.loki3.com/BracketList"/>
    <dgm:cxn modelId="{C306537A-3B0B-401B-944D-8EC64CF03A09}" type="presParOf" srcId="{C66ED1C9-8014-4F7C-B311-DA910CB909C0}" destId="{45FA827D-50F2-44F9-8BCD-39C01853190D}" srcOrd="2" destOrd="0" presId="urn:diagrams.loki3.com/BracketList"/>
    <dgm:cxn modelId="{B3CCE247-3383-44F8-A926-93B607496569}" type="presParOf" srcId="{C66ED1C9-8014-4F7C-B311-DA910CB909C0}" destId="{DC097320-BFA6-4E7F-A4AA-0CAD7480023A}" srcOrd="3" destOrd="0" presId="urn:diagrams.loki3.com/BracketList"/>
    <dgm:cxn modelId="{ED39F6F7-48A9-4692-B0F6-103BE23D65CD}" type="presParOf" srcId="{057F8454-4BB6-4F26-9E98-7611D7F0FB55}" destId="{6B4E5000-D0C4-4294-B150-25021C197A00}" srcOrd="9" destOrd="0" presId="urn:diagrams.loki3.com/BracketList"/>
    <dgm:cxn modelId="{28F9CB75-429F-4287-84BB-D21B677DF032}" type="presParOf" srcId="{057F8454-4BB6-4F26-9E98-7611D7F0FB55}" destId="{1FDDA98C-B36E-406A-A17C-6EBA416C0FE4}" srcOrd="10" destOrd="0" presId="urn:diagrams.loki3.com/BracketList"/>
    <dgm:cxn modelId="{04FFC6EC-4FE7-44FD-8F36-BC37BD27E13D}" type="presParOf" srcId="{1FDDA98C-B36E-406A-A17C-6EBA416C0FE4}" destId="{DAD51A06-3646-4AF7-BC4C-024B5FD28BF5}" srcOrd="0" destOrd="0" presId="urn:diagrams.loki3.com/BracketList"/>
    <dgm:cxn modelId="{370BC1A7-5E64-45A3-9DE5-62E46A17681E}" type="presParOf" srcId="{1FDDA98C-B36E-406A-A17C-6EBA416C0FE4}" destId="{1F1FA0A8-19D1-4B70-AAEF-C9B93251A7AB}" srcOrd="1" destOrd="0" presId="urn:diagrams.loki3.com/BracketList"/>
    <dgm:cxn modelId="{D9E5F8FA-18A6-4202-96AF-1E746D466726}" type="presParOf" srcId="{1FDDA98C-B36E-406A-A17C-6EBA416C0FE4}" destId="{22E020B9-CBB4-4FE0-B9C8-31770B35220D}" srcOrd="2" destOrd="0" presId="urn:diagrams.loki3.com/BracketList"/>
    <dgm:cxn modelId="{E5B7BABD-07BB-4AAC-8C9E-9065C3E989DC}" type="presParOf" srcId="{1FDDA98C-B36E-406A-A17C-6EBA416C0FE4}" destId="{3F4A985B-F2EE-42AA-8656-72F48C49FB19}" srcOrd="3" destOrd="0" presId="urn:diagrams.loki3.com/BracketList"/>
    <dgm:cxn modelId="{5AD8D488-8314-44B7-BE0A-0EB9AD1283A3}" type="presParOf" srcId="{057F8454-4BB6-4F26-9E98-7611D7F0FB55}" destId="{A4107CE6-30F7-4DFE-AA54-D4B87FA0CD8C}" srcOrd="11" destOrd="0" presId="urn:diagrams.loki3.com/BracketList"/>
    <dgm:cxn modelId="{385F2C72-C112-4A19-A1EB-36F13AB71C15}" type="presParOf" srcId="{057F8454-4BB6-4F26-9E98-7611D7F0FB55}" destId="{D7D95BBF-D39F-46C8-BD70-D15DA95D52C6}" srcOrd="12" destOrd="0" presId="urn:diagrams.loki3.com/BracketList"/>
    <dgm:cxn modelId="{1A9CC544-1451-437A-8F08-87F99951613F}" type="presParOf" srcId="{D7D95BBF-D39F-46C8-BD70-D15DA95D52C6}" destId="{0CD20BC7-C56D-4E6F-8B1A-4237C6089427}" srcOrd="0" destOrd="0" presId="urn:diagrams.loki3.com/BracketList"/>
    <dgm:cxn modelId="{8F1BF371-45B9-4227-80F3-A50A7337899D}" type="presParOf" srcId="{D7D95BBF-D39F-46C8-BD70-D15DA95D52C6}" destId="{FEB7EB45-217B-45FD-A618-3E806DEA5D33}" srcOrd="1" destOrd="0" presId="urn:diagrams.loki3.com/BracketList"/>
    <dgm:cxn modelId="{E8D8FFEB-FE45-4E68-9640-71DEF8152815}" type="presParOf" srcId="{D7D95BBF-D39F-46C8-BD70-D15DA95D52C6}" destId="{2EA2EC1A-E9E7-411B-8542-F4779FB1DF5E}" srcOrd="2" destOrd="0" presId="urn:diagrams.loki3.com/BracketList"/>
    <dgm:cxn modelId="{60558D1A-78E9-4AF4-B097-F79EA45E50EB}" type="presParOf" srcId="{D7D95BBF-D39F-46C8-BD70-D15DA95D52C6}" destId="{CB40C16B-BC55-4F62-8A06-29BE54969F89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1E004B-78A6-4821-80A4-402498A9601E}">
      <dsp:nvSpPr>
        <dsp:cNvPr id="0" name=""/>
        <dsp:cNvSpPr/>
      </dsp:nvSpPr>
      <dsp:spPr>
        <a:xfrm>
          <a:off x="2436" y="232835"/>
          <a:ext cx="1246175" cy="336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Penalty</a:t>
          </a:r>
          <a:endParaRPr lang="en-US" sz="1700" kern="1200" dirty="0"/>
        </a:p>
      </dsp:txBody>
      <dsp:txXfrm>
        <a:off x="2436" y="232835"/>
        <a:ext cx="1246175" cy="336600"/>
      </dsp:txXfrm>
    </dsp:sp>
    <dsp:sp modelId="{A50ED7ED-2127-4722-9954-59FDCB6E3C1B}">
      <dsp:nvSpPr>
        <dsp:cNvPr id="0" name=""/>
        <dsp:cNvSpPr/>
      </dsp:nvSpPr>
      <dsp:spPr>
        <a:xfrm>
          <a:off x="1248612" y="75054"/>
          <a:ext cx="249235" cy="652162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6DC01B-4709-400A-B1D9-EAB136747817}">
      <dsp:nvSpPr>
        <dsp:cNvPr id="0" name=""/>
        <dsp:cNvSpPr/>
      </dsp:nvSpPr>
      <dsp:spPr>
        <a:xfrm>
          <a:off x="1597541" y="75054"/>
          <a:ext cx="3389598" cy="6521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 Ashwatthama </a:t>
          </a:r>
          <a:r>
            <a:rPr lang="de-DE" sz="1700" kern="1200" dirty="0">
              <a:solidFill>
                <a:srgbClr val="FF0000"/>
              </a:solidFill>
            </a:rPr>
            <a:t>– 20 </a:t>
          </a:r>
          <a:r>
            <a:rPr lang="de-DE" sz="1700" kern="1200" dirty="0"/>
            <a:t>reward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 Kritavarma </a:t>
          </a:r>
          <a:r>
            <a:rPr lang="de-DE" sz="1700" kern="1200" dirty="0">
              <a:solidFill>
                <a:srgbClr val="FF0000"/>
              </a:solidFill>
            </a:rPr>
            <a:t>– 10 </a:t>
          </a:r>
          <a:r>
            <a:rPr lang="de-DE" sz="1700" kern="1200" dirty="0"/>
            <a:t>reward</a:t>
          </a:r>
          <a:endParaRPr lang="en-US" sz="1700" kern="1200" dirty="0"/>
        </a:p>
      </dsp:txBody>
      <dsp:txXfrm>
        <a:off x="1597541" y="75054"/>
        <a:ext cx="3389598" cy="652162"/>
      </dsp:txXfrm>
    </dsp:sp>
    <dsp:sp modelId="{810995D9-D1EC-49C5-89ED-3ACEBA56CA1F}">
      <dsp:nvSpPr>
        <dsp:cNvPr id="0" name=""/>
        <dsp:cNvSpPr/>
      </dsp:nvSpPr>
      <dsp:spPr>
        <a:xfrm>
          <a:off x="2436" y="1082942"/>
          <a:ext cx="1246175" cy="336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Teleport</a:t>
          </a:r>
          <a:endParaRPr lang="en-US" sz="1700" kern="1200" dirty="0"/>
        </a:p>
      </dsp:txBody>
      <dsp:txXfrm>
        <a:off x="2436" y="1082942"/>
        <a:ext cx="1246175" cy="336600"/>
      </dsp:txXfrm>
    </dsp:sp>
    <dsp:sp modelId="{35272306-0319-4746-A21F-3E08F0B04B4C}">
      <dsp:nvSpPr>
        <dsp:cNvPr id="0" name=""/>
        <dsp:cNvSpPr/>
      </dsp:nvSpPr>
      <dsp:spPr>
        <a:xfrm>
          <a:off x="1248612" y="788417"/>
          <a:ext cx="249235" cy="92565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E2E3B8-5D93-4F75-8AF7-4EC0CCD50DAA}">
      <dsp:nvSpPr>
        <dsp:cNvPr id="0" name=""/>
        <dsp:cNvSpPr/>
      </dsp:nvSpPr>
      <dsp:spPr>
        <a:xfrm>
          <a:off x="1597541" y="788417"/>
          <a:ext cx="3389598" cy="9256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Shakuni - Teleport (Random)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Drona - Teleport (0,0)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Dushasan - Teleport (6,6)</a:t>
          </a:r>
          <a:endParaRPr lang="en-US" sz="1700" kern="1200" dirty="0"/>
        </a:p>
      </dsp:txBody>
      <dsp:txXfrm>
        <a:off x="1597541" y="788417"/>
        <a:ext cx="3389598" cy="925650"/>
      </dsp:txXfrm>
    </dsp:sp>
    <dsp:sp modelId="{CB552428-9B85-4305-90E6-E347A9601C0C}">
      <dsp:nvSpPr>
        <dsp:cNvPr id="0" name=""/>
        <dsp:cNvSpPr/>
      </dsp:nvSpPr>
      <dsp:spPr>
        <a:xfrm>
          <a:off x="2436" y="1819643"/>
          <a:ext cx="1246175" cy="5680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Freeze action</a:t>
          </a:r>
          <a:endParaRPr lang="en-US" sz="1700" kern="1200" dirty="0"/>
        </a:p>
      </dsp:txBody>
      <dsp:txXfrm>
        <a:off x="2436" y="1819643"/>
        <a:ext cx="1246175" cy="568012"/>
      </dsp:txXfrm>
    </dsp:sp>
    <dsp:sp modelId="{60A626AD-1F2E-41DF-AA64-ACB755354302}">
      <dsp:nvSpPr>
        <dsp:cNvPr id="0" name=""/>
        <dsp:cNvSpPr/>
      </dsp:nvSpPr>
      <dsp:spPr>
        <a:xfrm>
          <a:off x="1248612" y="1775267"/>
          <a:ext cx="249235" cy="656764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572AD6-A72B-4409-8454-EADF5738DABD}">
      <dsp:nvSpPr>
        <dsp:cNvPr id="0" name=""/>
        <dsp:cNvSpPr/>
      </dsp:nvSpPr>
      <dsp:spPr>
        <a:xfrm>
          <a:off x="1597541" y="1775267"/>
          <a:ext cx="3389598" cy="6567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Bhishma - Next 4 steps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Kripa - Next 2 steps</a:t>
          </a:r>
          <a:endParaRPr lang="en-US" sz="1700" kern="1200" dirty="0"/>
        </a:p>
      </dsp:txBody>
      <dsp:txXfrm>
        <a:off x="1597541" y="1775267"/>
        <a:ext cx="3389598" cy="656764"/>
      </dsp:txXfrm>
    </dsp:sp>
    <dsp:sp modelId="{854B1CA4-8A6F-49B2-A7F5-499B86E4ACEB}">
      <dsp:nvSpPr>
        <dsp:cNvPr id="0" name=""/>
        <dsp:cNvSpPr/>
      </dsp:nvSpPr>
      <dsp:spPr>
        <a:xfrm>
          <a:off x="2436" y="2493231"/>
          <a:ext cx="1246175" cy="5680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Restrict Left  action</a:t>
          </a:r>
          <a:endParaRPr lang="en-US" sz="1700" kern="1200" dirty="0"/>
        </a:p>
      </dsp:txBody>
      <dsp:txXfrm>
        <a:off x="2436" y="2493231"/>
        <a:ext cx="1246175" cy="568012"/>
      </dsp:txXfrm>
    </dsp:sp>
    <dsp:sp modelId="{D1F7AE9C-83BA-4800-AB4F-1E67339D2F4B}">
      <dsp:nvSpPr>
        <dsp:cNvPr id="0" name=""/>
        <dsp:cNvSpPr/>
      </dsp:nvSpPr>
      <dsp:spPr>
        <a:xfrm>
          <a:off x="1248612" y="2493231"/>
          <a:ext cx="249235" cy="568012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0C37F3-EA83-47E0-A762-E2602A2B4788}">
      <dsp:nvSpPr>
        <dsp:cNvPr id="0" name=""/>
        <dsp:cNvSpPr/>
      </dsp:nvSpPr>
      <dsp:spPr>
        <a:xfrm>
          <a:off x="1597541" y="2493231"/>
          <a:ext cx="3389598" cy="568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Jayadratha - (3,5) to </a:t>
          </a:r>
          <a:r>
            <a:rPr lang="de-DE" sz="1700" kern="1200" dirty="0">
              <a:solidFill>
                <a:srgbClr val="FF0000"/>
              </a:solidFill>
            </a:rPr>
            <a:t>goal  (3,3)</a:t>
          </a:r>
          <a:endParaRPr lang="en-US" sz="1700" kern="1200" dirty="0">
            <a:solidFill>
              <a:srgbClr val="FF0000"/>
            </a:solidFill>
          </a:endParaRPr>
        </a:p>
      </dsp:txBody>
      <dsp:txXfrm>
        <a:off x="1597541" y="2493231"/>
        <a:ext cx="3389598" cy="568012"/>
      </dsp:txXfrm>
    </dsp:sp>
    <dsp:sp modelId="{016615FD-5DEC-42D6-A4D0-DAC846F854A8}">
      <dsp:nvSpPr>
        <dsp:cNvPr id="0" name=""/>
        <dsp:cNvSpPr/>
      </dsp:nvSpPr>
      <dsp:spPr>
        <a:xfrm>
          <a:off x="2436" y="3122444"/>
          <a:ext cx="1246175" cy="5680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Health score</a:t>
          </a:r>
          <a:endParaRPr lang="en-US" sz="1700" kern="1200" dirty="0"/>
        </a:p>
      </dsp:txBody>
      <dsp:txXfrm>
        <a:off x="2436" y="3122444"/>
        <a:ext cx="1246175" cy="568012"/>
      </dsp:txXfrm>
    </dsp:sp>
    <dsp:sp modelId="{7E1CA661-593D-4130-AA2D-1DED6E555118}">
      <dsp:nvSpPr>
        <dsp:cNvPr id="0" name=""/>
        <dsp:cNvSpPr/>
      </dsp:nvSpPr>
      <dsp:spPr>
        <a:xfrm>
          <a:off x="1248612" y="3122444"/>
          <a:ext cx="249235" cy="568012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097320-BFA6-4E7F-A4AA-0CAD7480023A}">
      <dsp:nvSpPr>
        <dsp:cNvPr id="0" name=""/>
        <dsp:cNvSpPr/>
      </dsp:nvSpPr>
      <dsp:spPr>
        <a:xfrm>
          <a:off x="1597541" y="3122444"/>
          <a:ext cx="3389598" cy="568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Karn - 3 </a:t>
          </a:r>
          <a:r>
            <a:rPr lang="de-DE" sz="1700" kern="1200" dirty="0">
              <a:sym typeface="Wingdings" panose="05000000000000000000" pitchFamily="2" charset="2"/>
            </a:rPr>
            <a:t></a:t>
          </a:r>
          <a:r>
            <a:rPr lang="de-DE" sz="1700" kern="1200" dirty="0"/>
            <a:t> </a:t>
          </a:r>
          <a:r>
            <a:rPr lang="de-DE" sz="1700" kern="1200" dirty="0">
              <a:solidFill>
                <a:srgbClr val="FF0000"/>
              </a:solidFill>
            </a:rPr>
            <a:t>0 += Penalty</a:t>
          </a:r>
          <a:endParaRPr lang="en-US" sz="1700" kern="1200" dirty="0">
            <a:solidFill>
              <a:srgbClr val="FF0000"/>
            </a:solidFill>
          </a:endParaRPr>
        </a:p>
      </dsp:txBody>
      <dsp:txXfrm>
        <a:off x="1597541" y="3122444"/>
        <a:ext cx="3389598" cy="568012"/>
      </dsp:txXfrm>
    </dsp:sp>
    <dsp:sp modelId="{DAD51A06-3646-4AF7-BC4C-024B5FD28BF5}">
      <dsp:nvSpPr>
        <dsp:cNvPr id="0" name=""/>
        <dsp:cNvSpPr/>
      </dsp:nvSpPr>
      <dsp:spPr>
        <a:xfrm>
          <a:off x="2436" y="3751656"/>
          <a:ext cx="1246175" cy="5680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 dirty="0"/>
            <a:t>Score multipier</a:t>
          </a:r>
          <a:endParaRPr lang="en-US" sz="1700" kern="1200" dirty="0"/>
        </a:p>
      </dsp:txBody>
      <dsp:txXfrm>
        <a:off x="2436" y="3751656"/>
        <a:ext cx="1246175" cy="568012"/>
      </dsp:txXfrm>
    </dsp:sp>
    <dsp:sp modelId="{1F1FA0A8-19D1-4B70-AAEF-C9B93251A7AB}">
      <dsp:nvSpPr>
        <dsp:cNvPr id="0" name=""/>
        <dsp:cNvSpPr/>
      </dsp:nvSpPr>
      <dsp:spPr>
        <a:xfrm>
          <a:off x="1248612" y="3751656"/>
          <a:ext cx="249235" cy="568012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4A985B-F2EE-42AA-8656-72F48C49FB19}">
      <dsp:nvSpPr>
        <dsp:cNvPr id="0" name=""/>
        <dsp:cNvSpPr/>
      </dsp:nvSpPr>
      <dsp:spPr>
        <a:xfrm>
          <a:off x="1597541" y="3751656"/>
          <a:ext cx="3389598" cy="568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/>
            <a:t>Balaram - Reward : X </a:t>
          </a:r>
          <a:r>
            <a:rPr lang="de-DE" sz="1700" kern="1200" dirty="0">
              <a:sym typeface="Wingdings" panose="05000000000000000000" pitchFamily="2" charset="2"/>
            </a:rPr>
            <a:t></a:t>
          </a:r>
          <a:r>
            <a:rPr lang="de-DE" sz="1700" kern="1200" dirty="0"/>
            <a:t> </a:t>
          </a:r>
          <a:r>
            <a:rPr lang="de-DE" sz="1700" kern="1200" dirty="0">
              <a:solidFill>
                <a:srgbClr val="FF0000"/>
              </a:solidFill>
            </a:rPr>
            <a:t>4X</a:t>
          </a:r>
          <a:endParaRPr lang="en-US" sz="1700" kern="1200" dirty="0">
            <a:solidFill>
              <a:srgbClr val="FF0000"/>
            </a:solidFill>
          </a:endParaRPr>
        </a:p>
      </dsp:txBody>
      <dsp:txXfrm>
        <a:off x="1597541" y="3751656"/>
        <a:ext cx="3389598" cy="568012"/>
      </dsp:txXfrm>
    </dsp:sp>
    <dsp:sp modelId="{0CD20BC7-C56D-4E6F-8B1A-4237C6089427}">
      <dsp:nvSpPr>
        <dsp:cNvPr id="0" name=""/>
        <dsp:cNvSpPr/>
      </dsp:nvSpPr>
      <dsp:spPr>
        <a:xfrm>
          <a:off x="2436" y="4396647"/>
          <a:ext cx="1246175" cy="336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43180" rIns="120904" bIns="43180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700" kern="1200"/>
            <a:t>Game over</a:t>
          </a:r>
          <a:endParaRPr lang="en-US" sz="1700" kern="1200"/>
        </a:p>
      </dsp:txBody>
      <dsp:txXfrm>
        <a:off x="2436" y="4396647"/>
        <a:ext cx="1246175" cy="336600"/>
      </dsp:txXfrm>
    </dsp:sp>
    <dsp:sp modelId="{FEB7EB45-217B-45FD-A618-3E806DEA5D33}">
      <dsp:nvSpPr>
        <dsp:cNvPr id="0" name=""/>
        <dsp:cNvSpPr/>
      </dsp:nvSpPr>
      <dsp:spPr>
        <a:xfrm>
          <a:off x="1248612" y="4380869"/>
          <a:ext cx="249235" cy="368156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40C16B-BC55-4F62-8A06-29BE54969F89}">
      <dsp:nvSpPr>
        <dsp:cNvPr id="0" name=""/>
        <dsp:cNvSpPr/>
      </dsp:nvSpPr>
      <dsp:spPr>
        <a:xfrm>
          <a:off x="1597541" y="4380869"/>
          <a:ext cx="3389598" cy="36815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de-DE" sz="1700" kern="1200" dirty="0">
              <a:solidFill>
                <a:schemeClr val="bg1"/>
              </a:solidFill>
              <a:sym typeface="Wingdings" panose="05000000000000000000" pitchFamily="2" charset="2"/>
            </a:rPr>
            <a:t> Vikarna - </a:t>
          </a:r>
          <a:r>
            <a:rPr lang="de-DE" sz="1700" kern="1200" dirty="0">
              <a:solidFill>
                <a:srgbClr val="FF0000"/>
              </a:solidFill>
              <a:sym typeface="Wingdings" panose="05000000000000000000" pitchFamily="2" charset="2"/>
            </a:rPr>
            <a:t>  </a:t>
          </a:r>
          <a:endParaRPr lang="en-US" sz="1700" kern="1200" dirty="0">
            <a:solidFill>
              <a:srgbClr val="FF0000"/>
            </a:solidFill>
          </a:endParaRPr>
        </a:p>
      </dsp:txBody>
      <dsp:txXfrm>
        <a:off x="1597541" y="4380869"/>
        <a:ext cx="3389598" cy="3681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C5CDB-4DD3-4616-A2B1-CADC4CFE2E43}" type="datetimeFigureOut">
              <a:rPr lang="de-DE" smtClean="0"/>
              <a:t>07.07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BB78E7-9FC0-46C6-A5A3-AA04B3BC5A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0901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984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724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3189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4459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000" y="3582391"/>
            <a:ext cx="6134100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l">
              <a:lnSpc>
                <a:spcPct val="80000"/>
              </a:lnSpc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Willkommen an der</a:t>
            </a:r>
          </a:p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Technischen Hochschule Ingolstad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001" y="5440363"/>
            <a:ext cx="6311900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2800" b="0" i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3336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4966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793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4076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7CD2510-B24F-E08D-439F-08B03EA5DB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62" y="520624"/>
            <a:ext cx="10515600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j-ea"/>
                <a:cs typeface="+mj-cs"/>
              </a:rPr>
              <a:t>Mastertitelformat bearbeiten</a:t>
            </a:r>
            <a:br>
              <a:rPr lang="de-DE" dirty="0"/>
            </a:br>
            <a:r>
              <a:rPr lang="de-DE" dirty="0"/>
              <a:t>Mastertitelformat bearbeiten</a:t>
            </a: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30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0838" y="1658364"/>
            <a:ext cx="11507787" cy="39411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98219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115910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8006" y="1639492"/>
            <a:ext cx="5487185" cy="394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946" y="1620640"/>
            <a:ext cx="5480905" cy="39600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63870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611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Zwischentitel / Kapitel / neuer 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75103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liennummernplatzhalt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8FB2E-9454-CC40-B155-B924620EFC8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864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74485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18D1FF35-9BF2-B781-1F61-D38E0058699D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85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4"/>
            <a:ext cx="11064000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07125-F287-674A-B4D8-FED3251FDE2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01C0FF0-7DE2-2B0A-9495-E7604AF156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816" y="346585"/>
            <a:ext cx="755370" cy="61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19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1064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2978941"/>
            <a:ext cx="11063816" cy="3528000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D81EC-8C31-054F-B717-4ACEB33BE34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755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8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8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9E765-94CE-0941-BE99-F43834E80C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5421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4" y="1767840"/>
            <a:ext cx="11055617" cy="47412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4BB87-D65B-B741-90D0-3BFE1FF2D19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476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4"/>
            <a:ext cx="5402103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49947-ECEE-CD4E-8E00-25DB9EFCD1C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4634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8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632369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0C2B-DDFC-DE4D-9708-9CA1E81D3CA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326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528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0"/>
            <a:ext cx="5402103" cy="16099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3541926"/>
            <a:ext cx="5401253" cy="296948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5EDBF-F42E-4A47-ACDB-0E72DDFC05E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7728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72107"/>
            <a:ext cx="5368925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r">
              <a:lnSpc>
                <a:spcPct val="80000"/>
              </a:lnSpc>
              <a:buNone/>
              <a:defRPr sz="3600" i="1">
                <a:solidFill>
                  <a:srgbClr val="00599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>
                <a:solidFill>
                  <a:srgbClr val="00599C"/>
                </a:solidFill>
              </a:defRPr>
            </a:lvl1pPr>
          </a:lstStyle>
          <a:p>
            <a:fld id="{54E47B7E-1879-468C-AC6C-74FE3DD743D1}" type="datetime1">
              <a:rPr lang="de-DE" smtClean="0"/>
              <a:pPr/>
              <a:t>07.07.2024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5160963"/>
            <a:ext cx="5368925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600" b="1" i="1" baseline="0">
                <a:solidFill>
                  <a:srgbClr val="575756"/>
                </a:solidFill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248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639424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19FF2D26-B569-39E6-E876-1EBA05CB33EB}"/>
              </a:ext>
            </a:extLst>
          </p:cNvPr>
          <p:cNvSpPr/>
          <p:nvPr userDrawn="1"/>
        </p:nvSpPr>
        <p:spPr>
          <a:xfrm rot="900000">
            <a:off x="6921781" y="-502505"/>
            <a:ext cx="6205790" cy="8324029"/>
          </a:xfrm>
          <a:custGeom>
            <a:avLst/>
            <a:gdLst>
              <a:gd name="connsiteX0" fmla="*/ 0 w 5166047"/>
              <a:gd name="connsiteY0" fmla="*/ 0 h 7103738"/>
              <a:gd name="connsiteX1" fmla="*/ 5166047 w 5166047"/>
              <a:gd name="connsiteY1" fmla="*/ 0 h 7103738"/>
              <a:gd name="connsiteX2" fmla="*/ 5166047 w 5166047"/>
              <a:gd name="connsiteY2" fmla="*/ 7103738 h 7103738"/>
              <a:gd name="connsiteX3" fmla="*/ 0 w 5166047"/>
              <a:gd name="connsiteY3" fmla="*/ 7103738 h 7103738"/>
              <a:gd name="connsiteX4" fmla="*/ 0 w 5166047"/>
              <a:gd name="connsiteY4" fmla="*/ 0 h 7103738"/>
              <a:gd name="connsiteX0" fmla="*/ 0 w 5166047"/>
              <a:gd name="connsiteY0" fmla="*/ 1073163 h 8176901"/>
              <a:gd name="connsiteX1" fmla="*/ 3953853 w 5166047"/>
              <a:gd name="connsiteY1" fmla="*/ 0 h 8176901"/>
              <a:gd name="connsiteX2" fmla="*/ 5166047 w 5166047"/>
              <a:gd name="connsiteY2" fmla="*/ 8176901 h 8176901"/>
              <a:gd name="connsiteX3" fmla="*/ 0 w 5166047"/>
              <a:gd name="connsiteY3" fmla="*/ 8176901 h 8176901"/>
              <a:gd name="connsiteX4" fmla="*/ 0 w 5166047"/>
              <a:gd name="connsiteY4" fmla="*/ 1073163 h 8176901"/>
              <a:gd name="connsiteX0" fmla="*/ 0 w 5725841"/>
              <a:gd name="connsiteY0" fmla="*/ 1073163 h 8176901"/>
              <a:gd name="connsiteX1" fmla="*/ 3953853 w 5725841"/>
              <a:gd name="connsiteY1" fmla="*/ 0 h 8176901"/>
              <a:gd name="connsiteX2" fmla="*/ 5725841 w 5725841"/>
              <a:gd name="connsiteY2" fmla="*/ 6650950 h 8176901"/>
              <a:gd name="connsiteX3" fmla="*/ 0 w 5725841"/>
              <a:gd name="connsiteY3" fmla="*/ 8176901 h 8176901"/>
              <a:gd name="connsiteX4" fmla="*/ 0 w 5725841"/>
              <a:gd name="connsiteY4" fmla="*/ 1073163 h 8176901"/>
              <a:gd name="connsiteX0" fmla="*/ 0 w 5725841"/>
              <a:gd name="connsiteY0" fmla="*/ 1196999 h 8300737"/>
              <a:gd name="connsiteX1" fmla="*/ 4416016 w 5725841"/>
              <a:gd name="connsiteY1" fmla="*/ 0 h 8300737"/>
              <a:gd name="connsiteX2" fmla="*/ 5725841 w 5725841"/>
              <a:gd name="connsiteY2" fmla="*/ 6774786 h 8300737"/>
              <a:gd name="connsiteX3" fmla="*/ 0 w 5725841"/>
              <a:gd name="connsiteY3" fmla="*/ 8300737 h 8300737"/>
              <a:gd name="connsiteX4" fmla="*/ 0 w 5725841"/>
              <a:gd name="connsiteY4" fmla="*/ 1196999 h 8300737"/>
              <a:gd name="connsiteX0" fmla="*/ 0 w 6201024"/>
              <a:gd name="connsiteY0" fmla="*/ 1196999 h 8300737"/>
              <a:gd name="connsiteX1" fmla="*/ 4416016 w 6201024"/>
              <a:gd name="connsiteY1" fmla="*/ 0 h 8300737"/>
              <a:gd name="connsiteX2" fmla="*/ 6201024 w 6201024"/>
              <a:gd name="connsiteY2" fmla="*/ 6658469 h 8300737"/>
              <a:gd name="connsiteX3" fmla="*/ 0 w 6201024"/>
              <a:gd name="connsiteY3" fmla="*/ 8300737 h 8300737"/>
              <a:gd name="connsiteX4" fmla="*/ 0 w 6201024"/>
              <a:gd name="connsiteY4" fmla="*/ 1196999 h 8300737"/>
              <a:gd name="connsiteX0" fmla="*/ 4766 w 6205790"/>
              <a:gd name="connsiteY0" fmla="*/ 1196999 h 8324029"/>
              <a:gd name="connsiteX1" fmla="*/ 4420782 w 6205790"/>
              <a:gd name="connsiteY1" fmla="*/ 0 h 8324029"/>
              <a:gd name="connsiteX2" fmla="*/ 6205790 w 6205790"/>
              <a:gd name="connsiteY2" fmla="*/ 6658469 h 8324029"/>
              <a:gd name="connsiteX3" fmla="*/ 0 w 6205790"/>
              <a:gd name="connsiteY3" fmla="*/ 8324029 h 8324029"/>
              <a:gd name="connsiteX4" fmla="*/ 4766 w 6205790"/>
              <a:gd name="connsiteY4" fmla="*/ 1196999 h 832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5790" h="8324029">
                <a:moveTo>
                  <a:pt x="4766" y="1196999"/>
                </a:moveTo>
                <a:lnTo>
                  <a:pt x="4420782" y="0"/>
                </a:lnTo>
                <a:lnTo>
                  <a:pt x="6205790" y="6658469"/>
                </a:lnTo>
                <a:lnTo>
                  <a:pt x="0" y="8324029"/>
                </a:lnTo>
                <a:cubicBezTo>
                  <a:pt x="1589" y="5948352"/>
                  <a:pt x="3177" y="3572676"/>
                  <a:pt x="4766" y="1196999"/>
                </a:cubicBez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CA39A26B-9A3F-B5D2-47E6-6D4AF8ED2D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3078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2031124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8E80EAF-E5FB-8104-6451-3CF39FD5E8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624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620" y="4140023"/>
            <a:ext cx="452551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669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AAB4838-1A6D-26A3-2490-24EED1DDC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46967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8864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6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9E5155-9253-EBF8-86B8-2AC7A14C6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5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A9B2F0-3FEC-5503-6AB9-6A9A08D98B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64" y="473284"/>
            <a:ext cx="3220152" cy="1416107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4B237F-1D3E-5D6E-2340-BBADACC6DE4B}"/>
              </a:ext>
            </a:extLst>
          </p:cNvPr>
          <p:cNvGrpSpPr/>
          <p:nvPr userDrawn="1"/>
        </p:nvGrpSpPr>
        <p:grpSpPr>
          <a:xfrm>
            <a:off x="-990690" y="1772087"/>
            <a:ext cx="10849815" cy="6178838"/>
            <a:chOff x="-13375759" y="5567763"/>
            <a:chExt cx="10849815" cy="617883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DB640FA-9CF3-32D3-C002-A98F1AE2B61D}"/>
                </a:ext>
              </a:extLst>
            </p:cNvPr>
            <p:cNvSpPr/>
            <p:nvPr/>
          </p:nvSpPr>
          <p:spPr>
            <a:xfrm rot="900000">
              <a:off x="-13375759" y="5567763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0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hteck 3">
              <a:extLst>
                <a:ext uri="{FF2B5EF4-FFF2-40B4-BE49-F238E27FC236}">
                  <a16:creationId xmlns:a16="http://schemas.microsoft.com/office/drawing/2014/main" id="{7FBA1A7C-1D52-055F-6AA8-6300F602C51C}"/>
                </a:ext>
              </a:extLst>
            </p:cNvPr>
            <p:cNvSpPr/>
            <p:nvPr/>
          </p:nvSpPr>
          <p:spPr>
            <a:xfrm rot="900000">
              <a:off x="-13375759" y="5567765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9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7128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i="1" kern="1200" baseline="0">
          <a:solidFill>
            <a:srgbClr val="00599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1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7222">
          <p15:clr>
            <a:srgbClr val="F26B43"/>
          </p15:clr>
        </p15:guide>
        <p15:guide id="6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A32A68-51B0-73DF-A0C5-0F2A3798E8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60507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8D1D845-7E4B-2EC9-45C4-EC760D5BE5B6}"/>
              </a:ext>
            </a:extLst>
          </p:cNvPr>
          <p:cNvCxnSpPr>
            <a:cxnSpLocks/>
          </p:cNvCxnSpPr>
          <p:nvPr userDrawn="1"/>
        </p:nvCxnSpPr>
        <p:spPr>
          <a:xfrm>
            <a:off x="509920" y="621399"/>
            <a:ext cx="0" cy="5615202"/>
          </a:xfrm>
          <a:prstGeom prst="line">
            <a:avLst/>
          </a:prstGeom>
          <a:noFill/>
          <a:ln w="28575" cap="flat" cmpd="sng" algn="ctr">
            <a:solidFill>
              <a:srgbClr val="00599C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432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90" r:id="rId3"/>
    <p:sldLayoutId id="2147483677" r:id="rId4"/>
    <p:sldLayoutId id="214748367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5E5612-9CE0-1B4F-EC83-B4C92B3DA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0666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2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92" r:id="rId5"/>
    <p:sldLayoutId id="2147483693" r:id="rId6"/>
    <p:sldLayoutId id="214748369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16AFAC0-93FB-3081-FDF7-18A43127E1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258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41528"/>
            <a:ext cx="12201525" cy="101647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026" y="6260659"/>
            <a:ext cx="2072098" cy="3138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0274" y="6260659"/>
            <a:ext cx="2038352" cy="37459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9595" y="166594"/>
            <a:ext cx="2173955" cy="93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7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30A5D2-BE97-F26E-B4E5-B3632E5F1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335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8"/>
          <p:cNvSpPr txBox="1">
            <a:spLocks/>
          </p:cNvSpPr>
          <p:nvPr/>
        </p:nvSpPr>
        <p:spPr>
          <a:xfrm>
            <a:off x="504825" y="6583363"/>
            <a:ext cx="1096963" cy="20796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2052" name="Titelplatzhalter 16"/>
          <p:cNvSpPr>
            <a:spLocks noGrp="1"/>
          </p:cNvSpPr>
          <p:nvPr>
            <p:ph type="title"/>
          </p:nvPr>
        </p:nvSpPr>
        <p:spPr bwMode="auto">
          <a:xfrm>
            <a:off x="393700" y="406400"/>
            <a:ext cx="97536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053" name="Textplatzhalter 17"/>
          <p:cNvSpPr>
            <a:spLocks noGrp="1"/>
          </p:cNvSpPr>
          <p:nvPr>
            <p:ph type="body" idx="1"/>
          </p:nvPr>
        </p:nvSpPr>
        <p:spPr bwMode="auto">
          <a:xfrm>
            <a:off x="633413" y="1766888"/>
            <a:ext cx="11064875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700" y="6627813"/>
            <a:ext cx="255588" cy="207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aseline="0" smtClean="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F4603CEF-B396-964A-9571-AA9A3874814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055" name="Bild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213"/>
          <a:stretch>
            <a:fillRect/>
          </a:stretch>
        </p:blipFill>
        <p:spPr bwMode="auto">
          <a:xfrm>
            <a:off x="0" y="0"/>
            <a:ext cx="438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Textfeld 13"/>
          <p:cNvSpPr txBox="1">
            <a:spLocks noChangeArrowheads="1"/>
          </p:cNvSpPr>
          <p:nvPr userDrawn="1"/>
        </p:nvSpPr>
        <p:spPr bwMode="auto">
          <a:xfrm>
            <a:off x="633413" y="6627813"/>
            <a:ext cx="82248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de-DE" sz="800" dirty="0"/>
              <a:t> Technische Hochschule Ingolstadt</a:t>
            </a:r>
          </a:p>
        </p:txBody>
      </p:sp>
      <p:pic>
        <p:nvPicPr>
          <p:cNvPr id="9" name="Bild 6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378" t="3003" b="83303"/>
          <a:stretch/>
        </p:blipFill>
        <p:spPr>
          <a:xfrm>
            <a:off x="10963703" y="101149"/>
            <a:ext cx="1062681" cy="93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4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hdr="0" dt="0"/>
  <p:txStyles>
    <p:titleStyle>
      <a:lvl1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 b="1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58775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19138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79500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39863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package" Target="../embeddings/Microsoft_Excel_Worksheet1.xlsx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media" Target="../media/media2.mp4"/><Relationship Id="rId7" Type="http://schemas.openxmlformats.org/officeDocument/2006/relationships/image" Target="../media/image2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7.png"/><Relationship Id="rId5" Type="http://schemas.openxmlformats.org/officeDocument/2006/relationships/slideLayout" Target="../slideLayouts/slideLayout5.xml"/><Relationship Id="rId4" Type="http://schemas.openxmlformats.org/officeDocument/2006/relationships/video" Target="../media/media2.mp4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9000" y="4410527"/>
            <a:ext cx="6134100" cy="1654772"/>
          </a:xfrm>
        </p:spPr>
        <p:txBody>
          <a:bodyPr>
            <a:normAutofit/>
          </a:bodyPr>
          <a:lstStyle/>
          <a:p>
            <a:r>
              <a:rPr lang="de-DE" dirty="0"/>
              <a:t>Principle of Autonomy and Decision Making</a:t>
            </a:r>
          </a:p>
          <a:p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1982C0BF-129F-D9F3-8110-B6B179E9DEC5}"/>
              </a:ext>
            </a:extLst>
          </p:cNvPr>
          <p:cNvSpPr txBox="1">
            <a:spLocks/>
          </p:cNvSpPr>
          <p:nvPr/>
        </p:nvSpPr>
        <p:spPr>
          <a:xfrm>
            <a:off x="10029825" y="5019675"/>
            <a:ext cx="2743201" cy="1655762"/>
          </a:xfrm>
          <a:prstGeom prst="rect">
            <a:avLst/>
          </a:prstGeom>
        </p:spPr>
        <p:txBody>
          <a:bodyPr lIns="0" t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rgbClr val="00599C"/>
                </a:solidFill>
                <a:latin typeface="Arial" panose="020B0604020202020204"/>
              </a:rPr>
              <a:t>Chirag Tank</a:t>
            </a:r>
            <a:br>
              <a:rPr lang="de-DE" sz="1400" dirty="0">
                <a:solidFill>
                  <a:srgbClr val="00599C"/>
                </a:solidFill>
                <a:latin typeface="Arial" panose="020B0604020202020204"/>
              </a:rPr>
            </a:br>
            <a:r>
              <a:rPr lang="de-DE" sz="1400" dirty="0">
                <a:solidFill>
                  <a:srgbClr val="00599C"/>
                </a:solidFill>
                <a:latin typeface="Arial" panose="020B0604020202020204"/>
              </a:rPr>
              <a:t>cht8982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" dirty="0">
                <a:solidFill>
                  <a:srgbClr val="005A96"/>
                </a:solidFill>
              </a:rPr>
              <a:t>12.06.202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3EFD54-8CC4-6D3E-4C0E-5CA730EDC5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8011" y="3152775"/>
            <a:ext cx="6311900" cy="552450"/>
          </a:xfrm>
        </p:spPr>
        <p:txBody>
          <a:bodyPr/>
          <a:lstStyle/>
          <a:p>
            <a:r>
              <a:rPr lang="en-US" dirty="0"/>
              <a:t>Final Present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677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de-DE" dirty="0"/>
              <a:t>T</a:t>
            </a:r>
            <a:r>
              <a:rPr lang="en-US" dirty="0"/>
              <a:t>rials and Error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2977896" cy="30257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Trial – 3</a:t>
            </a:r>
          </a:p>
          <a:p>
            <a:r>
              <a:rPr lang="de-DE" dirty="0"/>
              <a:t>Agent reach to goal</a:t>
            </a:r>
          </a:p>
          <a:p>
            <a:pPr lvl="1"/>
            <a:r>
              <a:rPr lang="de-DE" dirty="0"/>
              <a:t>no_of_ep = 100000</a:t>
            </a:r>
          </a:p>
          <a:p>
            <a:pPr lvl="1"/>
            <a:r>
              <a:rPr lang="de-DE" dirty="0"/>
              <a:t>Reward = -100</a:t>
            </a:r>
          </a:p>
          <a:p>
            <a:r>
              <a:rPr lang="de-DE" dirty="0"/>
              <a:t>Cumulative reward - 400</a:t>
            </a:r>
          </a:p>
          <a:p>
            <a:pPr lvl="1"/>
            <a:endParaRPr lang="de-DE" dirty="0"/>
          </a:p>
        </p:txBody>
      </p:sp>
      <p:pic>
        <p:nvPicPr>
          <p:cNvPr id="6" name="Picture 5" descr="A group of colorful squares&#10;&#10;Description automatically generated">
            <a:extLst>
              <a:ext uri="{FF2B5EF4-FFF2-40B4-BE49-F238E27FC236}">
                <a16:creationId xmlns:a16="http://schemas.microsoft.com/office/drawing/2014/main" id="{B75F4B94-9866-68A4-AA6C-180D61D2B4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987" y="1038637"/>
            <a:ext cx="6821252" cy="5654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9193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de-DE" dirty="0"/>
              <a:t>T</a:t>
            </a:r>
            <a:r>
              <a:rPr lang="en-US" dirty="0"/>
              <a:t>rials and Error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2977896" cy="30257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Trial – 3</a:t>
            </a:r>
          </a:p>
          <a:p>
            <a:r>
              <a:rPr lang="de-DE" dirty="0"/>
              <a:t>Agent reach to goal</a:t>
            </a:r>
          </a:p>
          <a:p>
            <a:pPr lvl="1"/>
            <a:r>
              <a:rPr lang="de-DE" dirty="0"/>
              <a:t>no_of_ep = 100000</a:t>
            </a:r>
          </a:p>
          <a:p>
            <a:pPr lvl="1"/>
            <a:r>
              <a:rPr lang="de-DE" dirty="0"/>
              <a:t>Reward = -100</a:t>
            </a:r>
          </a:p>
          <a:p>
            <a:r>
              <a:rPr lang="de-DE" dirty="0"/>
              <a:t>Cumulative reward - 400</a:t>
            </a:r>
          </a:p>
          <a:p>
            <a:pPr lvl="1"/>
            <a:endParaRPr lang="de-DE" dirty="0"/>
          </a:p>
        </p:txBody>
      </p:sp>
      <p:pic>
        <p:nvPicPr>
          <p:cNvPr id="6" name="Picture 5" descr="A group of colorful squares&#10;&#10;Description automatically generated">
            <a:extLst>
              <a:ext uri="{FF2B5EF4-FFF2-40B4-BE49-F238E27FC236}">
                <a16:creationId xmlns:a16="http://schemas.microsoft.com/office/drawing/2014/main" id="{B75F4B94-9866-68A4-AA6C-180D61D2B4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987" y="1038637"/>
            <a:ext cx="6821252" cy="5654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679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en-US" dirty="0"/>
              <a:t>Result validation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10134600" cy="47892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gent reach to goal</a:t>
            </a:r>
          </a:p>
          <a:p>
            <a:pPr lvl="1"/>
            <a:r>
              <a:rPr lang="de-DE" dirty="0"/>
              <a:t>no_of_ep = 100000</a:t>
            </a:r>
          </a:p>
          <a:p>
            <a:pPr lvl="1"/>
            <a:r>
              <a:rPr lang="de-DE" dirty="0"/>
              <a:t>Reward = -100</a:t>
            </a:r>
          </a:p>
          <a:p>
            <a:r>
              <a:rPr lang="de-DE" dirty="0"/>
              <a:t>Cumulative reward - 400</a:t>
            </a:r>
          </a:p>
          <a:p>
            <a:pPr lvl="1"/>
            <a:endParaRPr lang="de-DE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04F5A5C0-7F2E-2563-F21E-95066828341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76254006"/>
              </p:ext>
            </p:extLst>
          </p:nvPr>
        </p:nvGraphicFramePr>
        <p:xfrm>
          <a:off x="5505870" y="753900"/>
          <a:ext cx="4965420" cy="23453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4274714" imgH="2019450" progId="Excel.Sheet.12">
                  <p:embed/>
                </p:oleObj>
              </mc:Choice>
              <mc:Fallback>
                <p:oleObj name="Worksheet" r:id="rId2" imgW="4274714" imgH="20194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505870" y="753900"/>
                        <a:ext cx="4965420" cy="23453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blue bar code with text&#10;&#10;Description automatically generated">
            <a:extLst>
              <a:ext uri="{FF2B5EF4-FFF2-40B4-BE49-F238E27FC236}">
                <a16:creationId xmlns:a16="http://schemas.microsoft.com/office/drawing/2014/main" id="{EC7587C0-E655-DECB-7BD8-E5FD9D11DD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099245"/>
            <a:ext cx="10515599" cy="375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252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338" y="674387"/>
            <a:ext cx="3989832" cy="709391"/>
          </a:xfrm>
        </p:spPr>
        <p:txBody>
          <a:bodyPr>
            <a:normAutofit/>
          </a:bodyPr>
          <a:lstStyle/>
          <a:p>
            <a:r>
              <a:rPr lang="de-DE" dirty="0"/>
              <a:t>A</a:t>
            </a:r>
            <a:r>
              <a:rPr lang="en-US" dirty="0"/>
              <a:t>gent during training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5"/>
            <a:ext cx="3733800" cy="1099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Optimal Policy Visulisation</a:t>
            </a:r>
          </a:p>
        </p:txBody>
      </p:sp>
      <p:pic>
        <p:nvPicPr>
          <p:cNvPr id="7" name="Chakravyuh Environment 2024-07-08 07-04-27">
            <a:hlinkClick r:id="" action="ppaction://media"/>
            <a:extLst>
              <a:ext uri="{FF2B5EF4-FFF2-40B4-BE49-F238E27FC236}">
                <a16:creationId xmlns:a16="http://schemas.microsoft.com/office/drawing/2014/main" id="{E133E182-8BF4-D91E-60FD-EC3C2DD1E0A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t="22" r="20182" b="19682"/>
          <a:stretch/>
        </p:blipFill>
        <p:spPr>
          <a:xfrm>
            <a:off x="6633068" y="1429910"/>
            <a:ext cx="5163312" cy="5194192"/>
          </a:xfrm>
          <a:prstGeom prst="rect">
            <a:avLst/>
          </a:prstGeom>
        </p:spPr>
      </p:pic>
      <p:pic>
        <p:nvPicPr>
          <p:cNvPr id="8" name="Chakravyuh Environment 2024-07-08 02-02-23">
            <a:hlinkClick r:id="" action="ppaction://media"/>
            <a:extLst>
              <a:ext uri="{FF2B5EF4-FFF2-40B4-BE49-F238E27FC236}">
                <a16:creationId xmlns:a16="http://schemas.microsoft.com/office/drawing/2014/main" id="{BD466440-FDBA-6565-E0F1-9EE1C5FC31AA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7"/>
          <a:srcRect r="20182" b="19705"/>
          <a:stretch/>
        </p:blipFill>
        <p:spPr>
          <a:xfrm>
            <a:off x="1076338" y="1388089"/>
            <a:ext cx="5163312" cy="5194192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8BCE893-B989-2176-654D-1C28A7ECE0FA}"/>
              </a:ext>
            </a:extLst>
          </p:cNvPr>
          <p:cNvSpPr txBox="1">
            <a:spLocks/>
          </p:cNvSpPr>
          <p:nvPr/>
        </p:nvSpPr>
        <p:spPr>
          <a:xfrm>
            <a:off x="6633068" y="690633"/>
            <a:ext cx="243778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599C"/>
                </a:solidFill>
                <a:latin typeface="TSTAR" panose="020B060402020202020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B050"/>
                </a:solidFill>
              </a:rPr>
              <a:t>Agent Trained </a:t>
            </a:r>
          </a:p>
        </p:txBody>
      </p:sp>
    </p:spTree>
    <p:extLst>
      <p:ext uri="{BB962C8B-B14F-4D97-AF65-F5344CB8AC3E}">
        <p14:creationId xmlns:p14="http://schemas.microsoft.com/office/powerpoint/2010/main" val="3023657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32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363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en-US" dirty="0"/>
              <a:t>statistics and analys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5"/>
            <a:ext cx="3733800" cy="1099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Optimal Policy Visulis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5F4B94-9866-68A4-AA6C-180D61D2B4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83" t="2196" r="21594" b="-2196"/>
          <a:stretch/>
        </p:blipFill>
        <p:spPr>
          <a:xfrm>
            <a:off x="3867911" y="2004077"/>
            <a:ext cx="5324857" cy="4853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785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en-US" dirty="0"/>
              <a:t>statistics and analys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5"/>
            <a:ext cx="3733800" cy="5629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requency of Action Tak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5F4B94-9866-68A4-AA6C-180D61D2B4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" t="433" b="-433"/>
          <a:stretch/>
        </p:blipFill>
        <p:spPr>
          <a:xfrm>
            <a:off x="883571" y="2064524"/>
            <a:ext cx="10712157" cy="4517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0373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en-US" dirty="0"/>
              <a:t>Learning and future work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PADM 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10134600" cy="47892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uilding a custom environment</a:t>
            </a:r>
          </a:p>
          <a:p>
            <a:r>
              <a:rPr lang="de-DE" dirty="0"/>
              <a:t>Training agent</a:t>
            </a:r>
          </a:p>
          <a:p>
            <a:endParaRPr lang="de-DE" dirty="0"/>
          </a:p>
          <a:p>
            <a:r>
              <a:rPr lang="de-DE" dirty="0"/>
              <a:t>Modifications in environment due to dynamic nature</a:t>
            </a:r>
          </a:p>
          <a:p>
            <a:r>
              <a:rPr lang="de-DE" dirty="0"/>
              <a:t>Changed characters pow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sz="2000" dirty="0"/>
              <a:t>Shakuni (reverse action)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200" dirty="0"/>
          </a:p>
          <a:p>
            <a:r>
              <a:rPr lang="de-DE" sz="2200" dirty="0"/>
              <a:t>DQN based dynamic environment training</a:t>
            </a:r>
          </a:p>
          <a:p>
            <a:pPr lvl="1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457200" lvl="1" indent="0">
              <a:buNone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71902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1192" y="2886526"/>
            <a:ext cx="6134100" cy="2880289"/>
          </a:xfrm>
        </p:spPr>
        <p:txBody>
          <a:bodyPr>
            <a:normAutofit/>
          </a:bodyPr>
          <a:lstStyle/>
          <a:p>
            <a:r>
              <a:rPr lang="en-US" dirty="0"/>
              <a:t>Thank you for opportunity to present myself !!</a:t>
            </a:r>
          </a:p>
          <a:p>
            <a:endParaRPr lang="en-US" dirty="0"/>
          </a:p>
          <a:p>
            <a:endParaRPr lang="en-IN" dirty="0"/>
          </a:p>
          <a:p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1982C0BF-129F-D9F3-8110-B6B179E9DEC5}"/>
              </a:ext>
            </a:extLst>
          </p:cNvPr>
          <p:cNvSpPr txBox="1">
            <a:spLocks/>
          </p:cNvSpPr>
          <p:nvPr/>
        </p:nvSpPr>
        <p:spPr>
          <a:xfrm>
            <a:off x="10029825" y="5019675"/>
            <a:ext cx="2743201" cy="1655762"/>
          </a:xfrm>
          <a:prstGeom prst="rect">
            <a:avLst/>
          </a:prstGeom>
        </p:spPr>
        <p:txBody>
          <a:bodyPr lIns="0" t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rgbClr val="00599C"/>
                </a:solidFill>
                <a:latin typeface="Arial" panose="020B0604020202020204"/>
              </a:rPr>
              <a:t>Chirag Tank</a:t>
            </a:r>
            <a:br>
              <a:rPr lang="de-DE" sz="1400" dirty="0">
                <a:solidFill>
                  <a:srgbClr val="00599C"/>
                </a:solidFill>
                <a:latin typeface="Arial" panose="020B0604020202020204"/>
              </a:rPr>
            </a:br>
            <a:r>
              <a:rPr lang="de-DE" sz="1400" dirty="0">
                <a:solidFill>
                  <a:srgbClr val="00599C"/>
                </a:solidFill>
                <a:latin typeface="Arial" panose="020B0604020202020204"/>
              </a:rPr>
              <a:t>(cht8982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" dirty="0">
                <a:solidFill>
                  <a:srgbClr val="005A96"/>
                </a:solidFill>
              </a:rPr>
              <a:t>12.06.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C0388-4276-0ED7-0561-0D9853BF93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848" y="5490590"/>
            <a:ext cx="6926531" cy="552450"/>
          </a:xfrm>
        </p:spPr>
        <p:txBody>
          <a:bodyPr/>
          <a:lstStyle/>
          <a:p>
            <a:r>
              <a:rPr lang="en-US" dirty="0"/>
              <a:t>It's been great learning experience for me !!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00931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1264620"/>
            <a:ext cx="3953256" cy="849310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r>
              <a:rPr lang="de-DE" sz="2700" dirty="0">
                <a:solidFill>
                  <a:srgbClr val="002060"/>
                </a:solidFill>
                <a:latin typeface="+mj-lt"/>
              </a:rPr>
              <a:t>Environment C</a:t>
            </a:r>
            <a:r>
              <a:rPr lang="en-US" sz="2700" dirty="0" err="1">
                <a:solidFill>
                  <a:srgbClr val="002060"/>
                </a:solidFill>
                <a:latin typeface="+mj-lt"/>
              </a:rPr>
              <a:t>oncept</a:t>
            </a:r>
            <a:r>
              <a:rPr lang="en-US" sz="2700" dirty="0">
                <a:solidFill>
                  <a:srgbClr val="002060"/>
                </a:solidFill>
                <a:latin typeface="+mj-lt"/>
              </a:rPr>
              <a:t> :</a:t>
            </a:r>
            <a:br>
              <a:rPr lang="en-US" sz="2400" b="0" dirty="0">
                <a:solidFill>
                  <a:srgbClr val="002060"/>
                </a:solidFill>
                <a:latin typeface="+mj-lt"/>
              </a:rPr>
            </a:br>
            <a:r>
              <a:rPr lang="en-US" sz="2400" b="0" dirty="0">
                <a:solidFill>
                  <a:schemeClr val="tx1"/>
                </a:solidFill>
                <a:latin typeface="+mj-lt"/>
              </a:rPr>
              <a:t>Mahabharat’s </a:t>
            </a:r>
            <a:r>
              <a:rPr lang="en-US" sz="2400" b="0" dirty="0" err="1">
                <a:solidFill>
                  <a:schemeClr val="tx1"/>
                </a:solidFill>
                <a:latin typeface="+mj-lt"/>
              </a:rPr>
              <a:t>Chakravyuha</a:t>
            </a:r>
            <a:r>
              <a:rPr lang="en-US" sz="2400" b="0" dirty="0">
                <a:solidFill>
                  <a:schemeClr val="tx1"/>
                </a:solidFill>
                <a:latin typeface="+mj-lt"/>
              </a:rPr>
              <a:t> (7,7)</a:t>
            </a:r>
          </a:p>
        </p:txBody>
      </p:sp>
      <p:pic>
        <p:nvPicPr>
          <p:cNvPr id="12" name="Picture 11" descr="A screenshot of a video game&#10;&#10;Description automatically generated">
            <a:extLst>
              <a:ext uri="{FF2B5EF4-FFF2-40B4-BE49-F238E27FC236}">
                <a16:creationId xmlns:a16="http://schemas.microsoft.com/office/drawing/2014/main" id="{192D39C0-404C-F6D7-7DD9-71C23C2AE4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345" r="-2" b="9695"/>
          <a:stretch/>
        </p:blipFill>
        <p:spPr>
          <a:xfrm>
            <a:off x="-9886" y="0"/>
            <a:ext cx="7572605" cy="6858000"/>
          </a:xfrm>
          <a:prstGeom prst="rect">
            <a:avLst/>
          </a:prstGeom>
        </p:spPr>
      </p:pic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49EDD1B-F94D-B4E6-ACAA-566B9A26F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199390" y="871146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192031E-EF68-7C3F-559C-9F375275D379}"/>
              </a:ext>
            </a:extLst>
          </p:cNvPr>
          <p:cNvSpPr txBox="1"/>
          <p:nvPr/>
        </p:nvSpPr>
        <p:spPr>
          <a:xfrm>
            <a:off x="8153400" y="2113930"/>
            <a:ext cx="3434180" cy="474407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Agent – </a:t>
            </a:r>
            <a:r>
              <a:rPr lang="en-US" sz="2000" dirty="0">
                <a:solidFill>
                  <a:srgbClr val="0070C0"/>
                </a:solidFill>
              </a:rPr>
              <a:t>Abhimanyu (0,0)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Goal – </a:t>
            </a:r>
            <a:r>
              <a:rPr lang="en-US" sz="2000" dirty="0" err="1">
                <a:solidFill>
                  <a:srgbClr val="00B050"/>
                </a:solidFill>
              </a:rPr>
              <a:t>Duryodhan</a:t>
            </a:r>
            <a:r>
              <a:rPr lang="en-US" sz="2000" dirty="0">
                <a:solidFill>
                  <a:srgbClr val="00B050"/>
                </a:solidFill>
              </a:rPr>
              <a:t> (3,3)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Obstacles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 err="1">
                <a:solidFill>
                  <a:srgbClr val="FF0000"/>
                </a:solidFill>
              </a:rPr>
              <a:t>Karn</a:t>
            </a:r>
            <a:r>
              <a:rPr lang="en-US" sz="2000" dirty="0">
                <a:solidFill>
                  <a:srgbClr val="FF0000"/>
                </a:solidFill>
              </a:rPr>
              <a:t> (2,1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Balram (1,3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Shakuni (1,5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Ashwatthama (3,1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Drona (5,1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Bhishma (5,3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 err="1">
                <a:solidFill>
                  <a:srgbClr val="FF0000"/>
                </a:solidFill>
              </a:rPr>
              <a:t>Kritavarma</a:t>
            </a:r>
            <a:r>
              <a:rPr lang="en-US" sz="2000" dirty="0">
                <a:solidFill>
                  <a:srgbClr val="FF0000"/>
                </a:solidFill>
              </a:rPr>
              <a:t> (5,5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Jayadratha (3,5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Kripa (1,2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 err="1">
                <a:solidFill>
                  <a:srgbClr val="FF0000"/>
                </a:solidFill>
              </a:rPr>
              <a:t>Dushasan</a:t>
            </a:r>
            <a:r>
              <a:rPr lang="en-US" sz="2000" dirty="0">
                <a:solidFill>
                  <a:srgbClr val="FF0000"/>
                </a:solidFill>
              </a:rPr>
              <a:t> (4,4)</a:t>
            </a:r>
          </a:p>
          <a:p>
            <a:pPr marL="971550" lvl="1" indent="-4572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 err="1">
                <a:solidFill>
                  <a:srgbClr val="FF0000"/>
                </a:solidFill>
              </a:rPr>
              <a:t>Vikarna</a:t>
            </a:r>
            <a:r>
              <a:rPr lang="en-US" sz="2000" dirty="0">
                <a:solidFill>
                  <a:srgbClr val="FF0000"/>
                </a:solidFill>
              </a:rPr>
              <a:t> (2,4)</a:t>
            </a: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049E9FB2-15AD-4BAD-B5DA-63EA35E480F0}" type="slidenum">
              <a:rPr lang="en-US">
                <a:solidFill>
                  <a:srgbClr val="002060"/>
                </a:solidFill>
                <a:latin typeface="Calibri" panose="020F0502020204030204"/>
              </a:rPr>
              <a:pPr algn="r">
                <a:spcAft>
                  <a:spcPts val="600"/>
                </a:spcAft>
                <a:defRPr/>
              </a:pPr>
              <a:t>2</a:t>
            </a:fld>
            <a:endParaRPr lang="en-US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2" name="Titel 3">
            <a:extLst>
              <a:ext uri="{FF2B5EF4-FFF2-40B4-BE49-F238E27FC236}">
                <a16:creationId xmlns:a16="http://schemas.microsoft.com/office/drawing/2014/main" id="{DC6C759B-977B-C62E-BF05-7654B49C9CE9}"/>
              </a:ext>
            </a:extLst>
          </p:cNvPr>
          <p:cNvSpPr txBox="1">
            <a:spLocks/>
          </p:cNvSpPr>
          <p:nvPr/>
        </p:nvSpPr>
        <p:spPr>
          <a:xfrm>
            <a:off x="8153400" y="292361"/>
            <a:ext cx="3434180" cy="57878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599C"/>
                </a:solidFill>
                <a:latin typeface="TSTAR" panose="020B0604020202020204" charset="0"/>
                <a:ea typeface="+mj-ea"/>
                <a:cs typeface="+mj-cs"/>
              </a:defRPr>
            </a:lvl1pPr>
          </a:lstStyle>
          <a:p>
            <a:r>
              <a:rPr lang="en-US" sz="2000" b="0" dirty="0">
                <a:solidFill>
                  <a:schemeClr val="accent5">
                    <a:lumMod val="50000"/>
                  </a:schemeClr>
                </a:solidFill>
                <a:latin typeface="+mj-lt"/>
              </a:rPr>
              <a:t>Assignment – 1</a:t>
            </a:r>
            <a:br>
              <a:rPr lang="en-US" sz="2000" b="0" dirty="0">
                <a:solidFill>
                  <a:schemeClr val="accent5">
                    <a:lumMod val="50000"/>
                  </a:schemeClr>
                </a:solidFill>
                <a:latin typeface="+mj-lt"/>
              </a:rPr>
            </a:br>
            <a:r>
              <a:rPr lang="en-US" sz="2000" b="0" dirty="0">
                <a:solidFill>
                  <a:schemeClr val="accent5">
                    <a:lumMod val="50000"/>
                  </a:schemeClr>
                </a:solidFill>
                <a:latin typeface="+mj-lt"/>
              </a:rPr>
              <a:t>Custom Environment</a:t>
            </a:r>
          </a:p>
        </p:txBody>
      </p:sp>
    </p:spTree>
    <p:extLst>
      <p:ext uri="{BB962C8B-B14F-4D97-AF65-F5344CB8AC3E}">
        <p14:creationId xmlns:p14="http://schemas.microsoft.com/office/powerpoint/2010/main" val="1438292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53032"/>
            <a:ext cx="10802900" cy="709391"/>
          </a:xfrm>
        </p:spPr>
        <p:txBody>
          <a:bodyPr>
            <a:normAutofit/>
          </a:bodyPr>
          <a:lstStyle/>
          <a:p>
            <a:r>
              <a:rPr lang="en-US" dirty="0"/>
              <a:t>Components of Environm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87B7E0-345B-54D5-A8E2-AC50ED22AA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27776" y="1531944"/>
            <a:ext cx="5968604" cy="4740942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283511"/>
            <a:ext cx="10134600" cy="504825"/>
          </a:xfrm>
        </p:spPr>
        <p:txBody>
          <a:bodyPr>
            <a:normAutofit/>
          </a:bodyPr>
          <a:lstStyle/>
          <a:p>
            <a:r>
              <a:rPr lang="de-DE" dirty="0"/>
              <a:t>Assignment-1 Custom Environment</a:t>
            </a:r>
            <a:endParaRPr lang="en-US" dirty="0"/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0D100A95-64EF-8BE3-4261-5090D2F8F4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5584119"/>
              </p:ext>
            </p:extLst>
          </p:nvPr>
        </p:nvGraphicFramePr>
        <p:xfrm>
          <a:off x="550900" y="1480888"/>
          <a:ext cx="4989576" cy="4824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B8413729-F678-C6A5-6BC0-3E5A040472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7857"/>
            <a:ext cx="10515600" cy="4351338"/>
          </a:xfrm>
        </p:spPr>
        <p:txBody>
          <a:bodyPr/>
          <a:lstStyle/>
          <a:p>
            <a:r>
              <a:rPr lang="de-DE" dirty="0"/>
              <a:t>Obstacle pow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565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en-US" dirty="0"/>
              <a:t>Components of Environment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1 Custom Environment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830904C7-A75C-7563-059A-24EC7DDF283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200" y="1595024"/>
                <a:ext cx="10134600" cy="478925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Wingdings" panose="05000000000000000000" pitchFamily="2" charset="2"/>
                  <a:buChar char="§"/>
                  <a:defRPr sz="2000" kern="1200">
                    <a:solidFill>
                      <a:schemeClr val="tx1"/>
                    </a:solidFill>
                    <a:latin typeface="TSTAR" panose="020B060402020202020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TSTAR" panose="020B060402020202020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TSTAR" panose="020B060402020202020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panose="05000000000000000000" pitchFamily="2" charset="2"/>
                  <a:buChar char="§"/>
                  <a:defRPr sz="1400" kern="1200">
                    <a:solidFill>
                      <a:schemeClr val="tx1"/>
                    </a:solidFill>
                    <a:latin typeface="TSTAR" panose="020B060402020202020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Wingdings" panose="05000000000000000000" pitchFamily="2" charset="2"/>
                  <a:buChar char="§"/>
                  <a:defRPr sz="1400" kern="1200">
                    <a:solidFill>
                      <a:schemeClr val="tx1"/>
                    </a:solidFill>
                    <a:latin typeface="TSTAR" panose="020B060402020202020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dirty="0"/>
                  <a:t>Termination conditions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Goal state : (3,3)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Maximum episode steps : 100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Maximum negative reward :  </a:t>
                </a:r>
                <a:r>
                  <a:rPr lang="de-DE" sz="2000" dirty="0">
                    <a:solidFill>
                      <a:srgbClr val="FF0000"/>
                    </a:solidFill>
                  </a:rPr>
                  <a:t>-300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Health score : 3 </a:t>
                </a:r>
                <a:r>
                  <a:rPr lang="de-DE" sz="2000" dirty="0">
                    <a:sym typeface="Wingdings" panose="05000000000000000000" pitchFamily="2" charset="2"/>
                  </a:rPr>
                  <a:t> </a:t>
                </a:r>
                <a:r>
                  <a:rPr lang="de-DE" sz="20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0  += (-300)</a:t>
                </a:r>
                <a:br>
                  <a:rPr lang="de-DE" sz="20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</a:br>
                <a:endParaRPr lang="de-DE" sz="2000" b="0" i="0" dirty="0">
                  <a:solidFill>
                    <a:schemeClr val="tx1"/>
                  </a:solidFill>
                  <a:latin typeface="Cambria Math" panose="02040503050406030204" pitchFamily="18" charset="0"/>
                  <a:sym typeface="Wingdings" panose="05000000000000000000" pitchFamily="2" charset="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sym typeface="Wingdings" panose="05000000000000000000" pitchFamily="2" charset="2"/>
                        </a:rPr>
                        <m:t>Penalty</m:t>
                      </m:r>
                      <m:r>
                        <a:rPr lang="de-DE" sz="20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sym typeface="Wingdings" panose="05000000000000000000" pitchFamily="2" charset="2"/>
                        </a:rPr>
                        <m:t>=</m:t>
                      </m:r>
                      <m:f>
                        <m:fPr>
                          <m:ctrlPr>
                            <a:rPr lang="de-DE" sz="2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de-DE" sz="2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</m:ctrlPr>
                            </m:dPr>
                            <m:e>
                              <m:r>
                                <m:rPr>
                                  <m:nor/>
                                </m:rPr>
                                <a:rPr lang="de-DE" sz="20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Meximum</m:t>
                              </m:r>
                              <m:r>
                                <m:rPr>
                                  <m:nor/>
                                </m:rPr>
                                <a:rPr lang="de-DE" sz="20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 </m:t>
                              </m:r>
                              <m:r>
                                <m:rPr>
                                  <m:nor/>
                                </m:rPr>
                                <a:rPr lang="de-DE" sz="20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negative</m:t>
                              </m:r>
                              <m:r>
                                <m:rPr>
                                  <m:nor/>
                                </m:rPr>
                                <a:rPr lang="de-DE" sz="20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 </m:t>
                              </m:r>
                              <m:r>
                                <m:rPr>
                                  <m:nor/>
                                </m:rPr>
                                <a:rPr lang="de-DE" sz="20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reward</m:t>
                              </m:r>
                              <m:r>
                                <m:rPr>
                                  <m:nor/>
                                </m:rPr>
                                <a:rPr lang="de-DE" sz="2000" b="0" i="0" dirty="0" smtClean="0">
                                  <a:solidFill>
                                    <a:schemeClr val="tx1"/>
                                  </a:solidFill>
                                </a:rPr>
                                <m:t> - </m:t>
                              </m:r>
                              <m:r>
                                <a:rPr lang="de-DE" sz="2000" b="0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𝑢𝑚𝑢𝑙𝑎𝑡𝑖𝑣𝑒</m:t>
                              </m:r>
                              <m:r>
                                <a:rPr lang="de-DE" sz="2000" b="0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de-DE" sz="2000" b="0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𝑟𝑒𝑤𝑎𝑟𝑑</m:t>
                              </m:r>
                            </m:e>
                          </m:d>
                        </m:num>
                        <m:den>
                          <m:r>
                            <a:rPr lang="de-DE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𝐻𝑒𝑎𝑙𝑡h</m:t>
                          </m:r>
                          <m:r>
                            <a:rPr lang="de-DE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 </m:t>
                          </m:r>
                          <m:r>
                            <a:rPr lang="de-DE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𝑠𝑐𝑜𝑟𝑒</m:t>
                          </m:r>
                        </m:den>
                      </m:f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  <a:sym typeface="Wingdings" panose="05000000000000000000" pitchFamily="2" charset="2"/>
                </a:endParaRPr>
              </a:p>
              <a:p>
                <a:pPr marL="457200" lvl="1" indent="0">
                  <a:buNone/>
                </a:pPr>
                <a:endParaRPr lang="de-DE" sz="2000" dirty="0">
                  <a:solidFill>
                    <a:schemeClr val="tx1"/>
                  </a:solidFill>
                </a:endParaRPr>
              </a:p>
              <a:p>
                <a:r>
                  <a:rPr lang="de-DE" dirty="0"/>
                  <a:t>Reward structure</a:t>
                </a:r>
              </a:p>
              <a:p>
                <a:pPr marL="742950" lvl="1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2000" dirty="0"/>
                  <a:t>Goal : </a:t>
                </a:r>
                <a:r>
                  <a:rPr lang="en-US" sz="2000" dirty="0">
                    <a:solidFill>
                      <a:srgbClr val="00B050"/>
                    </a:solidFill>
                  </a:rPr>
                  <a:t>400</a:t>
                </a:r>
              </a:p>
              <a:p>
                <a:pPr marL="742950" lvl="1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2000" dirty="0"/>
                  <a:t>Obstacles : </a:t>
                </a:r>
                <a:r>
                  <a:rPr lang="en-US" sz="2000" dirty="0">
                    <a:solidFill>
                      <a:srgbClr val="FF0000"/>
                    </a:solidFill>
                  </a:rPr>
                  <a:t>-5</a:t>
                </a:r>
              </a:p>
              <a:p>
                <a:pPr marL="742950" lvl="1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2000" dirty="0"/>
                  <a:t>Leaving : 0</a:t>
                </a:r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830904C7-A75C-7563-059A-24EC7DDF28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595024"/>
                <a:ext cx="10134600" cy="4789257"/>
              </a:xfrm>
              <a:prstGeom prst="rect">
                <a:avLst/>
              </a:prstGeom>
              <a:blipFill>
                <a:blip r:embed="rId2"/>
                <a:stretch>
                  <a:fillRect l="-542" t="-14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46938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6251" y="1676111"/>
            <a:ext cx="3445167" cy="39014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200" dirty="0">
                <a:solidFill>
                  <a:schemeClr val="tx1"/>
                </a:solidFill>
                <a:latin typeface="+mj-lt"/>
              </a:rPr>
              <a:t>Visualization : If agent behaves as a Human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96251" y="5455664"/>
            <a:ext cx="3545060" cy="76417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Assignment-1 </a:t>
            </a:r>
            <a:br>
              <a:rPr lang="en-US" sz="1800" dirty="0">
                <a:solidFill>
                  <a:schemeClr val="tx1"/>
                </a:solidFill>
                <a:latin typeface="+mn-lt"/>
              </a:rPr>
            </a:br>
            <a:r>
              <a:rPr lang="en-US" sz="1800" dirty="0">
                <a:solidFill>
                  <a:schemeClr val="tx1"/>
                </a:solidFill>
                <a:latin typeface="+mn-lt"/>
              </a:rPr>
              <a:t>Custom Environment</a:t>
            </a:r>
          </a:p>
        </p:txBody>
      </p:sp>
      <p:pic>
        <p:nvPicPr>
          <p:cNvPr id="6" name="Picture 5" descr="A screenshot of a video game&#10;&#10;Description automatically generated">
            <a:extLst>
              <a:ext uri="{FF2B5EF4-FFF2-40B4-BE49-F238E27FC236}">
                <a16:creationId xmlns:a16="http://schemas.microsoft.com/office/drawing/2014/main" id="{5562E861-AEAD-1211-443E-B5E9C17FE18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58" b="4998"/>
          <a:stretch/>
        </p:blipFill>
        <p:spPr>
          <a:xfrm>
            <a:off x="20" y="-3"/>
            <a:ext cx="7576437" cy="685799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3193FD5-6A49-7562-EA76-F15D42E15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199390" y="5181888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049E9FB2-15AD-4BAD-B5DA-63EA35E480F0}" type="slidenum">
              <a:rPr lang="en-US" b="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r">
                <a:spcAft>
                  <a:spcPts val="600"/>
                </a:spcAft>
                <a:defRPr/>
              </a:pPr>
              <a:t>5</a:t>
            </a:fld>
            <a:endParaRPr lang="en-US" b="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86069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de-DE" dirty="0"/>
              <a:t>T</a:t>
            </a:r>
            <a:r>
              <a:rPr lang="en-US" dirty="0"/>
              <a:t>rials and Error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10134600" cy="47892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Trial – 1</a:t>
            </a:r>
          </a:p>
          <a:p>
            <a:r>
              <a:rPr lang="de-DE" dirty="0"/>
              <a:t>Agent passed through obstacles </a:t>
            </a:r>
          </a:p>
          <a:p>
            <a:pPr lvl="1"/>
            <a:r>
              <a:rPr lang="de-DE" dirty="0"/>
              <a:t>no_of_ep = 1000</a:t>
            </a:r>
          </a:p>
          <a:p>
            <a:pPr lvl="1"/>
            <a:r>
              <a:rPr lang="de-DE" dirty="0"/>
              <a:t>Reward = -5</a:t>
            </a:r>
          </a:p>
          <a:p>
            <a:pPr lvl="1"/>
            <a:r>
              <a:rPr lang="de-DE" dirty="0"/>
              <a:t>Learning rate – 0.01</a:t>
            </a:r>
          </a:p>
          <a:p>
            <a:r>
              <a:rPr lang="de-DE" dirty="0"/>
              <a:t>Cumulative reward - 395</a:t>
            </a:r>
          </a:p>
        </p:txBody>
      </p:sp>
      <p:pic>
        <p:nvPicPr>
          <p:cNvPr id="6" name="Picture 5" descr="A screenshot of a graph&#10;&#10;Description automatically generated">
            <a:extLst>
              <a:ext uri="{FF2B5EF4-FFF2-40B4-BE49-F238E27FC236}">
                <a16:creationId xmlns:a16="http://schemas.microsoft.com/office/drawing/2014/main" id="{D7345D04-02BB-C747-EA07-7F594A7D144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00" r="2000"/>
          <a:stretch/>
        </p:blipFill>
        <p:spPr>
          <a:xfrm>
            <a:off x="4521091" y="1393333"/>
            <a:ext cx="7411710" cy="4361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341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de-DE" dirty="0"/>
              <a:t>T</a:t>
            </a:r>
            <a:r>
              <a:rPr lang="en-US" dirty="0"/>
              <a:t>rials and Error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10134600" cy="47892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Trial – 1</a:t>
            </a:r>
          </a:p>
          <a:p>
            <a:r>
              <a:rPr lang="de-DE" dirty="0"/>
              <a:t>Agent passed through obstacles </a:t>
            </a:r>
          </a:p>
          <a:p>
            <a:pPr lvl="1"/>
            <a:r>
              <a:rPr lang="de-DE" dirty="0"/>
              <a:t>no_of_ep = 1000</a:t>
            </a:r>
          </a:p>
          <a:p>
            <a:pPr lvl="1"/>
            <a:r>
              <a:rPr lang="de-DE" dirty="0"/>
              <a:t>Reward = -5</a:t>
            </a:r>
          </a:p>
          <a:p>
            <a:pPr lvl="1"/>
            <a:r>
              <a:rPr lang="de-DE" dirty="0"/>
              <a:t>Learning rate – 0.01</a:t>
            </a:r>
          </a:p>
          <a:p>
            <a:r>
              <a:rPr lang="de-DE" dirty="0"/>
              <a:t>Cumulative reward - 395</a:t>
            </a:r>
          </a:p>
        </p:txBody>
      </p:sp>
      <p:pic>
        <p:nvPicPr>
          <p:cNvPr id="9" name="Picture 8" descr="A barcode with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59C54C2F-363C-C5AD-5CBC-6D275B7A9A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301" y="3877562"/>
            <a:ext cx="10790699" cy="2890750"/>
          </a:xfrm>
          <a:prstGeom prst="rect">
            <a:avLst/>
          </a:prstGeom>
        </p:spPr>
      </p:pic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E8AC8BB0-769B-D356-C35A-61C38E21B12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6389576"/>
              </p:ext>
            </p:extLst>
          </p:nvPr>
        </p:nvGraphicFramePr>
        <p:xfrm>
          <a:off x="4984671" y="1430154"/>
          <a:ext cx="6197662" cy="2410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4252173" imgH="1653595" progId="Excel.Sheet.12">
                  <p:embed/>
                </p:oleObj>
              </mc:Choice>
              <mc:Fallback>
                <p:oleObj name="Worksheet" r:id="rId3" imgW="4252173" imgH="165359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984671" y="1430154"/>
                        <a:ext cx="6197662" cy="2410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39056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de-DE" dirty="0"/>
              <a:t>T</a:t>
            </a:r>
            <a:r>
              <a:rPr lang="en-US" dirty="0"/>
              <a:t>rials and Error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4075176" cy="29038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Trial – 2</a:t>
            </a:r>
          </a:p>
          <a:p>
            <a:r>
              <a:rPr lang="de-DE" dirty="0"/>
              <a:t>Agent passed through obstacles </a:t>
            </a:r>
          </a:p>
          <a:p>
            <a:pPr lvl="1"/>
            <a:r>
              <a:rPr lang="de-DE" dirty="0"/>
              <a:t>no_of_ep = 50000</a:t>
            </a:r>
          </a:p>
          <a:p>
            <a:pPr lvl="1"/>
            <a:r>
              <a:rPr lang="de-DE" dirty="0"/>
              <a:t>Reward = -5</a:t>
            </a:r>
          </a:p>
          <a:p>
            <a:r>
              <a:rPr lang="de-DE" dirty="0"/>
              <a:t>Cumulative reward - 380</a:t>
            </a:r>
          </a:p>
          <a:p>
            <a:pPr lvl="1"/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CC4FE4-7DF5-A6BB-82EE-A662E1C91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6" r="7956"/>
          <a:stretch/>
        </p:blipFill>
        <p:spPr>
          <a:xfrm>
            <a:off x="3822980" y="1969679"/>
            <a:ext cx="7818120" cy="455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7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6122E-ECDD-6F91-A338-3B9BB68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139ECE-8C20-CC7C-5411-B6D3F61D2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2"/>
            <a:ext cx="10802900" cy="709391"/>
          </a:xfrm>
        </p:spPr>
        <p:txBody>
          <a:bodyPr>
            <a:normAutofit/>
          </a:bodyPr>
          <a:lstStyle/>
          <a:p>
            <a:r>
              <a:rPr lang="en-US" dirty="0"/>
              <a:t>Result validation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4D09AAD-3BD5-8321-C1A4-2F34B15001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336166"/>
            <a:ext cx="10134600" cy="504825"/>
          </a:xfrm>
        </p:spPr>
        <p:txBody>
          <a:bodyPr/>
          <a:lstStyle/>
          <a:p>
            <a:r>
              <a:rPr lang="de-DE" dirty="0"/>
              <a:t>Assignment-3 Training Agent using Q-Learning</a:t>
            </a:r>
            <a:endParaRPr lang="en-US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30904C7-A75C-7563-059A-24EC7DDF283E}"/>
              </a:ext>
            </a:extLst>
          </p:cNvPr>
          <p:cNvSpPr txBox="1">
            <a:spLocks/>
          </p:cNvSpPr>
          <p:nvPr/>
        </p:nvSpPr>
        <p:spPr>
          <a:xfrm>
            <a:off x="838200" y="1595024"/>
            <a:ext cx="4026408" cy="2561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Trial – 2</a:t>
            </a:r>
          </a:p>
          <a:p>
            <a:r>
              <a:rPr lang="de-DE" dirty="0"/>
              <a:t>Agent passed through obstacles </a:t>
            </a:r>
          </a:p>
          <a:p>
            <a:pPr lvl="1"/>
            <a:r>
              <a:rPr lang="de-DE" dirty="0"/>
              <a:t>no_of_ep = 50000</a:t>
            </a:r>
          </a:p>
          <a:p>
            <a:pPr lvl="1"/>
            <a:r>
              <a:rPr lang="de-DE" dirty="0"/>
              <a:t>Reward = -5</a:t>
            </a:r>
          </a:p>
          <a:p>
            <a:r>
              <a:rPr lang="de-DE" dirty="0"/>
              <a:t>Cumulative reward - 380</a:t>
            </a:r>
          </a:p>
          <a:p>
            <a:pPr lvl="1"/>
            <a:endParaRPr lang="de-DE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7F48765-C484-C187-BB84-A821AF9BF5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022629"/>
              </p:ext>
            </p:extLst>
          </p:nvPr>
        </p:nvGraphicFramePr>
        <p:xfrm>
          <a:off x="4864608" y="1393333"/>
          <a:ext cx="6276898" cy="2561164"/>
        </p:xfrm>
        <a:graphic>
          <a:graphicData uri="http://schemas.openxmlformats.org/drawingml/2006/table">
            <a:tbl>
              <a:tblPr/>
              <a:tblGrid>
                <a:gridCol w="900721">
                  <a:extLst>
                    <a:ext uri="{9D8B030D-6E8A-4147-A177-3AD203B41FA5}">
                      <a16:colId xmlns:a16="http://schemas.microsoft.com/office/drawing/2014/main" val="2757910054"/>
                    </a:ext>
                  </a:extLst>
                </a:gridCol>
                <a:gridCol w="900721">
                  <a:extLst>
                    <a:ext uri="{9D8B030D-6E8A-4147-A177-3AD203B41FA5}">
                      <a16:colId xmlns:a16="http://schemas.microsoft.com/office/drawing/2014/main" val="3657845420"/>
                    </a:ext>
                  </a:extLst>
                </a:gridCol>
                <a:gridCol w="900721">
                  <a:extLst>
                    <a:ext uri="{9D8B030D-6E8A-4147-A177-3AD203B41FA5}">
                      <a16:colId xmlns:a16="http://schemas.microsoft.com/office/drawing/2014/main" val="1574533804"/>
                    </a:ext>
                  </a:extLst>
                </a:gridCol>
                <a:gridCol w="628710">
                  <a:extLst>
                    <a:ext uri="{9D8B030D-6E8A-4147-A177-3AD203B41FA5}">
                      <a16:colId xmlns:a16="http://schemas.microsoft.com/office/drawing/2014/main" val="1469880081"/>
                    </a:ext>
                  </a:extLst>
                </a:gridCol>
                <a:gridCol w="1172732">
                  <a:extLst>
                    <a:ext uri="{9D8B030D-6E8A-4147-A177-3AD203B41FA5}">
                      <a16:colId xmlns:a16="http://schemas.microsoft.com/office/drawing/2014/main" val="645533040"/>
                    </a:ext>
                  </a:extLst>
                </a:gridCol>
                <a:gridCol w="900721">
                  <a:extLst>
                    <a:ext uri="{9D8B030D-6E8A-4147-A177-3AD203B41FA5}">
                      <a16:colId xmlns:a16="http://schemas.microsoft.com/office/drawing/2014/main" val="2125709535"/>
                    </a:ext>
                  </a:extLst>
                </a:gridCol>
                <a:gridCol w="872572">
                  <a:extLst>
                    <a:ext uri="{9D8B030D-6E8A-4147-A177-3AD203B41FA5}">
                      <a16:colId xmlns:a16="http://schemas.microsoft.com/office/drawing/2014/main" val="3155866457"/>
                    </a:ext>
                  </a:extLst>
                </a:gridCol>
              </a:tblGrid>
              <a:tr h="338674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2F75B5"/>
                          </a:highlight>
                          <a:latin typeface="Calibri" panose="020F0502020204030204" pitchFamily="34" charset="0"/>
                        </a:rPr>
                        <a:t>no_episodes</a:t>
                      </a:r>
                      <a:r>
                        <a:rPr lang="en-US" sz="17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2F75B5"/>
                          </a:highlight>
                          <a:latin typeface="Calibri" panose="020F0502020204030204" pitchFamily="34" charset="0"/>
                        </a:rPr>
                        <a:t> = 50000</a:t>
                      </a:r>
                    </a:p>
                  </a:txBody>
                  <a:tcPr marL="137668" marR="137668" marT="68834" marB="68834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2F75B5"/>
                          </a:highlight>
                          <a:latin typeface="Calibri" panose="020F0502020204030204" pitchFamily="34" charset="0"/>
                        </a:rPr>
                        <a:t>individual obstacle reward- -5</a:t>
                      </a:r>
                    </a:p>
                  </a:txBody>
                  <a:tcPr marL="137668" marR="137668" marT="68834" marB="68834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6520407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step no.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state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up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down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left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right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reward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485574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3210087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1597904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677044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1853927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490796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953448"/>
                  </a:ext>
                </a:extLst>
              </a:tr>
              <a:tr h="2350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11472" marR="11472" marT="11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6113125"/>
                  </a:ext>
                </a:extLst>
              </a:tr>
            </a:tbl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0F27B451-06ED-7707-ED61-A176312BB7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733" y="3965094"/>
            <a:ext cx="10999539" cy="289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483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C2CCC8D-1625-446F-90C0-4629122B4DD4}" vid="{1BB9B128-420B-4197-BDDB-C5C68FFD6CA6}"/>
    </a:ext>
  </a:extLst>
</a:theme>
</file>

<file path=ppt/theme/theme2.xml><?xml version="1.0" encoding="utf-8"?>
<a:theme xmlns:a="http://schemas.openxmlformats.org/drawingml/2006/main" name="1_Strich lin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hne Stri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.potx" id="{A3411A10-55D1-43C2-B04C-3C5E8E7CFDE5}" vid="{E60593B4-911D-4758-8327-43937288FFED}"/>
    </a:ext>
  </a:extLst>
</a:theme>
</file>

<file path=ppt/theme/theme5.xml><?xml version="1.0" encoding="utf-8"?>
<a:theme xmlns:a="http://schemas.openxmlformats.org/drawingml/2006/main" name="1_Bildschirm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C2CCC8D-1625-446F-90C0-4629122B4DD4}" vid="{85D937B5-FC70-40A9-8B57-A5E32D18F27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8bcace8-4ce7-4949-868f-170f67122379}" enabled="0" method="" siteId="{28bcace8-4ce7-4949-868f-170f671223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169</TotalTime>
  <Words>635</Words>
  <Application>Microsoft Office PowerPoint</Application>
  <PresentationFormat>Widescreen</PresentationFormat>
  <Paragraphs>209</Paragraphs>
  <Slides>17</Slides>
  <Notes>4</Notes>
  <HiddenSlides>0</HiddenSlides>
  <MMClips>2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Akzidenz-Grotesk Next Regular</vt:lpstr>
      <vt:lpstr>Arial</vt:lpstr>
      <vt:lpstr>Calibri</vt:lpstr>
      <vt:lpstr>Cambria Math</vt:lpstr>
      <vt:lpstr>TSTAR</vt:lpstr>
      <vt:lpstr>Wingdings</vt:lpstr>
      <vt:lpstr>1_Office</vt:lpstr>
      <vt:lpstr>1_Strich links</vt:lpstr>
      <vt:lpstr>2_ohne Strich</vt:lpstr>
      <vt:lpstr>3_Benutzerdefiniertes Design</vt:lpstr>
      <vt:lpstr>1_Bildschirm</vt:lpstr>
      <vt:lpstr>think-cell Folie</vt:lpstr>
      <vt:lpstr>Microsoft Excel Worksheet</vt:lpstr>
      <vt:lpstr>PowerPoint Presentation</vt:lpstr>
      <vt:lpstr>Environment Concept : Mahabharat’s Chakravyuha (7,7)</vt:lpstr>
      <vt:lpstr>Components of Environment</vt:lpstr>
      <vt:lpstr>Components of Environment</vt:lpstr>
      <vt:lpstr>Visualization : If agent behaves as a Human</vt:lpstr>
      <vt:lpstr>Trials and Error</vt:lpstr>
      <vt:lpstr>Trials and Error</vt:lpstr>
      <vt:lpstr>Trials and Error</vt:lpstr>
      <vt:lpstr>Result validation</vt:lpstr>
      <vt:lpstr>Trials and Error</vt:lpstr>
      <vt:lpstr>Trials and Error</vt:lpstr>
      <vt:lpstr>Result validation</vt:lpstr>
      <vt:lpstr>Agent during training</vt:lpstr>
      <vt:lpstr>statistics and analyses</vt:lpstr>
      <vt:lpstr>statistics and analyses</vt:lpstr>
      <vt:lpstr>Learning and future work</vt:lpstr>
      <vt:lpstr>PowerPoint Presentation</vt:lpstr>
    </vt:vector>
  </TitlesOfParts>
  <Company>Technische Hochschule Ingolsta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l, Ann Katrin</dc:creator>
  <cp:lastModifiedBy>chirag tank</cp:lastModifiedBy>
  <cp:revision>227</cp:revision>
  <dcterms:created xsi:type="dcterms:W3CDTF">2024-01-11T16:28:37Z</dcterms:created>
  <dcterms:modified xsi:type="dcterms:W3CDTF">2024-07-09T11:07:29Z</dcterms:modified>
</cp:coreProperties>
</file>